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embedTrueTypeFonts="1" saveSubsetFonts="1">
  <p:sldMasterIdLst>
    <p:sldMasterId id="2147483793" r:id="rId1"/>
    <p:sldMasterId id="2147483811" r:id="rId2"/>
  </p:sldMasterIdLst>
  <p:notesMasterIdLst>
    <p:notesMasterId r:id="rId10"/>
  </p:notesMasterIdLst>
  <p:handoutMasterIdLst>
    <p:handoutMasterId r:id="rId11"/>
  </p:handoutMasterIdLst>
  <p:sldIdLst>
    <p:sldId id="1304" r:id="rId3"/>
    <p:sldId id="1323" r:id="rId4"/>
    <p:sldId id="1341" r:id="rId5"/>
    <p:sldId id="1322" r:id="rId6"/>
    <p:sldId id="1343" r:id="rId7"/>
    <p:sldId id="1342" r:id="rId8"/>
    <p:sldId id="1344" r:id="rId9"/>
  </p:sldIdLst>
  <p:sldSz cx="12801600" cy="9601200" type="A3"/>
  <p:notesSz cx="6797675" cy="9874250"/>
  <p:embeddedFontLst>
    <p:embeddedFont>
      <p:font typeface="Calibri" pitchFamily="34" charset="0"/>
      <p:regular r:id="rId12"/>
      <p:bold r:id="rId13"/>
      <p:italic r:id="rId14"/>
      <p:boldItalic r:id="rId15"/>
    </p:embeddedFont>
    <p:embeddedFont>
      <p:font typeface="Helvetica" pitchFamily="34" charset="0"/>
      <p:regular r:id="rId16"/>
      <p:bold r:id="rId17"/>
      <p:italic r:id="rId18"/>
      <p:boldItalic r:id="rId19"/>
    </p:embeddedFont>
  </p:embeddedFontLst>
  <p:custDataLst>
    <p:tags r:id="rId20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1pPr>
    <a:lvl2pPr marL="610845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2pPr>
    <a:lvl3pPr marL="1221692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3pPr>
    <a:lvl4pPr marL="1832539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4pPr>
    <a:lvl5pPr marL="2443384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5pPr>
    <a:lvl6pPr marL="3054231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6pPr>
    <a:lvl7pPr marL="3665077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7pPr>
    <a:lvl8pPr marL="4275923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8pPr>
    <a:lvl9pPr marL="4886769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E44EE59-2B7C-4099-9C6E-979B9FEBF92E}">
          <p14:sldIdLst>
            <p14:sldId id="1304"/>
            <p14:sldId id="1323"/>
            <p14:sldId id="1341"/>
            <p14:sldId id="1322"/>
            <p14:sldId id="1343"/>
            <p14:sldId id="1342"/>
            <p14:sldId id="134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manovsky Roman" initials="RR" lastIdx="1" clrIdx="0"/>
  <p:cmAuthor id="1" name="Ekaterina Inozemtseva" initials="EI" lastIdx="10" clrIdx="1"/>
  <p:cmAuthor id="2" name="Nikita Vaysberg" initials="NV" lastIdx="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A521AF"/>
    <a:srgbClr val="DAEE64"/>
    <a:srgbClr val="7BBE4E"/>
    <a:srgbClr val="93C591"/>
    <a:srgbClr val="95C773"/>
    <a:srgbClr val="8AB2E2"/>
    <a:srgbClr val="00E668"/>
    <a:srgbClr val="FF6D6D"/>
    <a:srgbClr val="FF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14" autoAdjust="0"/>
    <p:restoredTop sz="99293" autoAdjust="0"/>
  </p:normalViewPr>
  <p:slideViewPr>
    <p:cSldViewPr snapToGrid="0" snapToObjects="1">
      <p:cViewPr varScale="1">
        <p:scale>
          <a:sx n="81" d="100"/>
          <a:sy n="81" d="100"/>
        </p:scale>
        <p:origin x="-1668" y="-96"/>
      </p:cViewPr>
      <p:guideLst>
        <p:guide orient="horz" pos="3438"/>
        <p:guide orient="horz" pos="731"/>
        <p:guide orient="horz" pos="88"/>
        <p:guide orient="horz" pos="993"/>
        <p:guide orient="horz" pos="1414"/>
        <p:guide orient="horz" pos="5453"/>
        <p:guide orient="horz" pos="5884"/>
        <p:guide orient="horz" pos="5699"/>
        <p:guide pos="4138"/>
        <p:guide pos="1155"/>
        <p:guide pos="3117"/>
        <p:guide pos="757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0"/>
    </p:cViewPr>
  </p:sorterViewPr>
  <p:notesViewPr>
    <p:cSldViewPr snapToGrid="0" snapToObjects="1">
      <p:cViewPr varScale="1">
        <p:scale>
          <a:sx n="112" d="100"/>
          <a:sy n="112" d="100"/>
        </p:scale>
        <p:origin x="-1992" y="-72"/>
      </p:cViewPr>
      <p:guideLst>
        <p:guide orient="horz" pos="3110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23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87517" y="9666697"/>
            <a:ext cx="364820" cy="167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31326">
              <a:defRPr sz="900" b="0"/>
            </a:lvl1pPr>
          </a:lstStyle>
          <a:p>
            <a:pPr>
              <a:defRPr/>
            </a:pPr>
            <a:fld id="{5EFD5B2C-F70E-4A18-80B5-D7D2CA0AB2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663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4679" y="4692038"/>
            <a:ext cx="5559817" cy="4870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409" tIns="45884" rIns="93409" bIns="458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4819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73088" y="227013"/>
            <a:ext cx="5608637" cy="42084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9861" y="9686571"/>
            <a:ext cx="222476" cy="147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31326">
              <a:defRPr sz="900" b="0"/>
            </a:lvl1pPr>
          </a:lstStyle>
          <a:p>
            <a:pPr>
              <a:defRPr/>
            </a:pPr>
            <a:fld id="{C8725C74-95DD-4059-B11B-683323D8F3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628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37551" indent="-237551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8134" indent="-218462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1527116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2137961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2748808" indent="-30542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3054231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65077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75923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86769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4.xml"/><Relationship Id="rId7" Type="http://schemas.openxmlformats.org/officeDocument/2006/relationships/image" Target="../media/image1.jpe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4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4.emf"/><Relationship Id="rId4" Type="http://schemas.openxmlformats.org/officeDocument/2006/relationships/tags" Target="../tags/tag13.xml"/><Relationship Id="rId9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image" Target="../media/image4.emf"/><Relationship Id="rId4" Type="http://schemas.openxmlformats.org/officeDocument/2006/relationships/tags" Target="../tags/tag24.xml"/><Relationship Id="rId9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4.emf"/><Relationship Id="rId4" Type="http://schemas.openxmlformats.org/officeDocument/2006/relationships/tags" Target="../tags/tag30.xml"/><Relationship Id="rId9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41.xml"/><Relationship Id="rId7" Type="http://schemas.openxmlformats.org/officeDocument/2006/relationships/image" Target="../media/image1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image" Target="../media/image4.emf"/><Relationship Id="rId4" Type="http://schemas.openxmlformats.org/officeDocument/2006/relationships/tags" Target="../tags/tag44.xml"/><Relationship Id="rId9" Type="http://schemas.openxmlformats.org/officeDocument/2006/relationships/oleObject" Target="../embeddings/oleObject7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8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9.v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4.emf"/><Relationship Id="rId4" Type="http://schemas.openxmlformats.org/officeDocument/2006/relationships/tags" Target="../tags/tag61.xml"/><Relationship Id="rId9" Type="http://schemas.openxmlformats.org/officeDocument/2006/relationships/oleObject" Target="../embeddings/oleObject9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image" Target="../media/image4.emf"/><Relationship Id="rId4" Type="http://schemas.openxmlformats.org/officeDocument/2006/relationships/tags" Target="../tags/tag67.xml"/><Relationship Id="rId9" Type="http://schemas.openxmlformats.org/officeDocument/2006/relationships/oleObject" Target="../embeddings/oleObject1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600"/>
            <a:ext cx="10881360" cy="2058035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39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79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19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59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99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39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78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187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D1566-07D7-4AE6-9841-CD424F72B4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352662"/>
              </p:ext>
            </p:extLst>
          </p:nvPr>
        </p:nvGraphicFramePr>
        <p:xfrm>
          <a:off x="2" y="0"/>
          <a:ext cx="222250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22250" cy="222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 userDrawn="1"/>
        </p:nvSpPr>
        <p:spPr bwMode="auto">
          <a:xfrm>
            <a:off x="6235700" y="0"/>
            <a:ext cx="65659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ru-RU" sz="1400" b="0" smtClean="0">
              <a:solidFill>
                <a:prstClr val="black"/>
              </a:solidFill>
            </a:endParaRPr>
          </a:p>
        </p:txBody>
      </p:sp>
      <p:pic>
        <p:nvPicPr>
          <p:cNvPr id="10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" y="1"/>
            <a:ext cx="3340689" cy="4724399"/>
          </a:xfrm>
          <a:prstGeom prst="rect">
            <a:avLst/>
          </a:prstGeom>
          <a:noFill/>
        </p:spPr>
      </p:pic>
      <p:sp>
        <p:nvSpPr>
          <p:cNvPr id="12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1803400" y="825500"/>
            <a:ext cx="1384300" cy="81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05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40080" y="2240282"/>
            <a:ext cx="11521440" cy="633634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918EA-9749-41C6-BD93-9A1E4873894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1119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994963" y="537845"/>
            <a:ext cx="4031615" cy="11470323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95668" y="537845"/>
            <a:ext cx="11885930" cy="1147032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833C8-26A9-4774-ACDE-9FD61A191E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0035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2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860A0D5B-6834-4EBD-8DB0-15117A71DC1A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9765" y="1560197"/>
            <a:ext cx="5943306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74656" y="1560197"/>
            <a:ext cx="6203852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8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422967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2" name="Заголовок 5"/>
          <p:cNvSpPr>
            <a:spLocks noGrp="1"/>
          </p:cNvSpPr>
          <p:nvPr>
            <p:ph type="title"/>
          </p:nvPr>
        </p:nvSpPr>
        <p:spPr>
          <a:xfrm>
            <a:off x="1255542" y="162242"/>
            <a:ext cx="11422966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3439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4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C8192463-13A9-4CEF-BBD1-B4E63E5B7FB7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9763" y="1522414"/>
            <a:ext cx="6146409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49763" y="2620674"/>
            <a:ext cx="6146409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378" y="1522414"/>
            <a:ext cx="6113585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378" y="2620674"/>
            <a:ext cx="6113585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5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361420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6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7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9" name="Заголовок 5"/>
          <p:cNvSpPr>
            <a:spLocks noGrp="1"/>
          </p:cNvSpPr>
          <p:nvPr>
            <p:ph type="title"/>
          </p:nvPr>
        </p:nvSpPr>
        <p:spPr>
          <a:xfrm>
            <a:off x="1255541" y="162242"/>
            <a:ext cx="11361419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729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Цветно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82309" y="9001125"/>
            <a:ext cx="695641" cy="428943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/>
            </a:lvl1pPr>
          </a:lstStyle>
          <a:p>
            <a:pPr>
              <a:defRPr/>
            </a:pPr>
            <a:fld id="{0C56BF24-2B8D-42BA-9CEE-7775E6E13E6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45185" y="1878015"/>
            <a:ext cx="11818912" cy="6651942"/>
          </a:xfrm>
          <a:prstGeom prst="rect">
            <a:avLst/>
          </a:prstGeom>
        </p:spPr>
        <p:txBody>
          <a:bodyPr lIns="122169" tIns="61085" rIns="122169" bIns="61085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4"/>
          <p:cNvSpPr/>
          <p:nvPr userDrawn="1">
            <p:custDataLst>
              <p:tags r:id="rId2"/>
            </p:custDataLst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8" name="Прямоугольник 5"/>
          <p:cNvSpPr/>
          <p:nvPr userDrawn="1">
            <p:custDataLst>
              <p:tags r:id="rId3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4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5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Заголовок 4"/>
          <p:cNvSpPr txBox="1">
            <a:spLocks/>
          </p:cNvSpPr>
          <p:nvPr userDrawn="1"/>
        </p:nvSpPr>
        <p:spPr>
          <a:xfrm>
            <a:off x="1255543" y="162245"/>
            <a:ext cx="11286987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1186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9387840" y="9112252"/>
            <a:ext cx="2987040" cy="511175"/>
          </a:xfrm>
          <a:prstGeom prst="rect">
            <a:avLst/>
          </a:prstGeom>
          <a:noFill/>
          <a:extLst/>
        </p:spPr>
        <p:txBody>
          <a:bodyPr lIns="122191" tIns="61096" rIns="122191" bIns="61096" anchor="ctr"/>
          <a:lstStyle>
            <a:defPPr>
              <a:defRPr lang="en-US"/>
            </a:defPPr>
            <a:lvl1pPr algn="r" rtl="0" eaLnBrk="0" fontAlgn="auto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Calibri" pitchFamily="34" charset="0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0295704-584C-438A-91FF-9284ECD4B5EA}" type="slidenum">
              <a:rPr lang="ru-RU" sz="1600" smtClean="0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6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lIns="122191" tIns="61096" rIns="122191" bIns="61096"/>
          <a:lstStyle>
            <a:lvl1pPr>
              <a:defRPr/>
            </a:lvl1pPr>
          </a:lstStyle>
          <a:p>
            <a:pPr>
              <a:defRPr/>
            </a:pPr>
            <a:fld id="{5F2215F5-6C35-4EE5-BC9E-F87D930F252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9087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7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860A0D5B-6834-4EBD-8DB0-15117A71DC1A}" type="slidenum">
              <a:rPr lang="en-US" sz="1600" b="0" smtClean="0"/>
              <a:pPr algn="r">
                <a:defRPr/>
              </a:pPr>
              <a:t>‹#›</a:t>
            </a:fld>
            <a:endParaRPr lang="en-US" sz="1600" b="0" smtClean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9765" y="1560197"/>
            <a:ext cx="5943306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74656" y="1560197"/>
            <a:ext cx="6203852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8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422967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Заголовок 5"/>
          <p:cNvSpPr>
            <a:spLocks noGrp="1"/>
          </p:cNvSpPr>
          <p:nvPr>
            <p:ph type="title"/>
          </p:nvPr>
        </p:nvSpPr>
        <p:spPr>
          <a:xfrm>
            <a:off x="1255542" y="162242"/>
            <a:ext cx="11422966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9944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0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C8192463-13A9-4CEF-BBD1-B4E63E5B7FB7}" type="slidenum">
              <a:rPr lang="en-US" sz="1600" b="0" smtClean="0"/>
              <a:pPr algn="r">
                <a:defRPr/>
              </a:pPr>
              <a:t>‹#›</a:t>
            </a:fld>
            <a:endParaRPr lang="en-US" sz="1600" b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9763" y="1522414"/>
            <a:ext cx="6146409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49763" y="2620674"/>
            <a:ext cx="6146409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378" y="1522414"/>
            <a:ext cx="6113585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378" y="2620674"/>
            <a:ext cx="6113585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5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361420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6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7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9" name="Заголовок 5"/>
          <p:cNvSpPr>
            <a:spLocks noGrp="1"/>
          </p:cNvSpPr>
          <p:nvPr>
            <p:ph type="title"/>
          </p:nvPr>
        </p:nvSpPr>
        <p:spPr>
          <a:xfrm>
            <a:off x="1255541" y="162242"/>
            <a:ext cx="11361419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592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Цветно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82309" y="9001125"/>
            <a:ext cx="695641" cy="428943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/>
            </a:lvl1pPr>
          </a:lstStyle>
          <a:p>
            <a:pPr>
              <a:defRPr/>
            </a:pPr>
            <a:fld id="{0C56BF24-2B8D-42BA-9CEE-7775E6E13E6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45185" y="1878015"/>
            <a:ext cx="11818912" cy="6651942"/>
          </a:xfrm>
          <a:prstGeom prst="rect">
            <a:avLst/>
          </a:prstGeom>
        </p:spPr>
        <p:txBody>
          <a:bodyPr lIns="122169" tIns="61085" rIns="122169" bIns="61085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4"/>
          <p:cNvSpPr/>
          <p:nvPr userDrawn="1">
            <p:custDataLst>
              <p:tags r:id="rId2"/>
            </p:custDataLst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/>
              <a:sym typeface="Helvetica"/>
            </a:endParaRPr>
          </a:p>
        </p:txBody>
      </p:sp>
      <p:sp>
        <p:nvSpPr>
          <p:cNvPr id="8" name="Прямоугольник 5"/>
          <p:cNvSpPr/>
          <p:nvPr userDrawn="1">
            <p:custDataLst>
              <p:tags r:id="rId3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4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5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Заголовок 4"/>
          <p:cNvSpPr txBox="1">
            <a:spLocks/>
          </p:cNvSpPr>
          <p:nvPr userDrawn="1"/>
        </p:nvSpPr>
        <p:spPr>
          <a:xfrm>
            <a:off x="1255543" y="162245"/>
            <a:ext cx="11286987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448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9387840" y="9112252"/>
            <a:ext cx="2987040" cy="511175"/>
          </a:xfrm>
          <a:prstGeom prst="rect">
            <a:avLst/>
          </a:prstGeom>
          <a:noFill/>
          <a:extLst/>
        </p:spPr>
        <p:txBody>
          <a:bodyPr lIns="122191" tIns="61096" rIns="122191" bIns="61096" anchor="ctr"/>
          <a:lstStyle>
            <a:defPPr>
              <a:defRPr lang="en-US"/>
            </a:defPPr>
            <a:lvl1pPr algn="r" rtl="0" eaLnBrk="0" fontAlgn="auto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Calibri" pitchFamily="34" charset="0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0295704-584C-438A-91FF-9284ECD4B5EA}" type="slidenum">
              <a:rPr lang="ru-RU" sz="1600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600" dirty="0" smtClean="0">
              <a:latin typeface="Calibri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lIns="122191" tIns="61096" rIns="122191" bIns="61096"/>
          <a:lstStyle>
            <a:lvl1pPr>
              <a:defRPr/>
            </a:lvl1pPr>
          </a:lstStyle>
          <a:p>
            <a:pPr>
              <a:defRPr/>
            </a:pPr>
            <a:fld id="{5F2215F5-6C35-4EE5-BC9E-F87D930F25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327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0080" y="2240282"/>
            <a:ext cx="11521440" cy="63363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299FDF-267F-4AC2-96C5-43ADE515A5D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4760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600"/>
            <a:ext cx="10881360" cy="2058035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39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79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19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59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99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39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78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187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D1566-07D7-4AE6-9841-CD424F72B4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57820"/>
              </p:ext>
            </p:extLst>
          </p:nvPr>
        </p:nvGraphicFramePr>
        <p:xfrm>
          <a:off x="2" y="0"/>
          <a:ext cx="222250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22250" cy="222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 userDrawn="1"/>
        </p:nvSpPr>
        <p:spPr bwMode="auto">
          <a:xfrm>
            <a:off x="6235700" y="0"/>
            <a:ext cx="65659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ru-RU" sz="1400" b="0" smtClean="0">
              <a:solidFill>
                <a:prstClr val="black"/>
              </a:solidFill>
            </a:endParaRPr>
          </a:p>
        </p:txBody>
      </p:sp>
      <p:pic>
        <p:nvPicPr>
          <p:cNvPr id="10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" y="1"/>
            <a:ext cx="3340689" cy="4724399"/>
          </a:xfrm>
          <a:prstGeom prst="rect">
            <a:avLst/>
          </a:prstGeom>
          <a:noFill/>
        </p:spPr>
      </p:pic>
      <p:sp>
        <p:nvSpPr>
          <p:cNvPr id="12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716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0080" y="2240282"/>
            <a:ext cx="11521440" cy="63363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299FDF-267F-4AC2-96C5-43ADE515A5D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4220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238" y="6169665"/>
            <a:ext cx="10881360" cy="1906905"/>
          </a:xfrm>
          <a:prstGeom prst="rect">
            <a:avLst/>
          </a:prstGeo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39849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7969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1954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593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9924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390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7894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187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ED2BE-6100-49FE-8EED-4DA81749887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2010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95670" y="3135948"/>
            <a:ext cx="7958772" cy="8872220"/>
          </a:xfrm>
          <a:prstGeom prst="rect">
            <a:avLst/>
          </a:prstGeo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9067800" y="3135948"/>
            <a:ext cx="7958773" cy="8872220"/>
          </a:xfrm>
          <a:prstGeom prst="rect">
            <a:avLst/>
          </a:prstGeo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077DD-5F00-4244-BD26-5B84343D25B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4905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00" b="1"/>
            </a:lvl1pPr>
            <a:lvl2pPr marL="639849" indent="0">
              <a:buNone/>
              <a:defRPr sz="2800" b="1"/>
            </a:lvl2pPr>
            <a:lvl3pPr marL="1279698" indent="0">
              <a:buNone/>
              <a:defRPr sz="2500" b="1"/>
            </a:lvl3pPr>
            <a:lvl4pPr marL="1919547" indent="0">
              <a:buNone/>
              <a:defRPr sz="2200" b="1"/>
            </a:lvl4pPr>
            <a:lvl5pPr marL="2559397" indent="0">
              <a:buNone/>
              <a:defRPr sz="2200" b="1"/>
            </a:lvl5pPr>
            <a:lvl6pPr marL="3199246" indent="0">
              <a:buNone/>
              <a:defRPr sz="2200" b="1"/>
            </a:lvl6pPr>
            <a:lvl7pPr marL="3839098" indent="0">
              <a:buNone/>
              <a:defRPr sz="2200" b="1"/>
            </a:lvl7pPr>
            <a:lvl8pPr marL="4478947" indent="0">
              <a:buNone/>
              <a:defRPr sz="2200" b="1"/>
            </a:lvl8pPr>
            <a:lvl9pPr marL="5118796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03040" y="2149158"/>
            <a:ext cx="5658485" cy="8956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00" b="1"/>
            </a:lvl1pPr>
            <a:lvl2pPr marL="639849" indent="0">
              <a:buNone/>
              <a:defRPr sz="2800" b="1"/>
            </a:lvl2pPr>
            <a:lvl3pPr marL="1279698" indent="0">
              <a:buNone/>
              <a:defRPr sz="2500" b="1"/>
            </a:lvl3pPr>
            <a:lvl4pPr marL="1919547" indent="0">
              <a:buNone/>
              <a:defRPr sz="2200" b="1"/>
            </a:lvl4pPr>
            <a:lvl5pPr marL="2559397" indent="0">
              <a:buNone/>
              <a:defRPr sz="2200" b="1"/>
            </a:lvl5pPr>
            <a:lvl6pPr marL="3199246" indent="0">
              <a:buNone/>
              <a:defRPr sz="2200" b="1"/>
            </a:lvl6pPr>
            <a:lvl7pPr marL="3839098" indent="0">
              <a:buNone/>
              <a:defRPr sz="2200" b="1"/>
            </a:lvl7pPr>
            <a:lvl8pPr marL="4478947" indent="0">
              <a:buNone/>
              <a:defRPr sz="2200" b="1"/>
            </a:lvl8pPr>
            <a:lvl9pPr marL="5118796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03040" y="3044825"/>
            <a:ext cx="5658485" cy="5531803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7940C-F0AD-45AE-B718-7FE7A2ED64B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3897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849B0B-9645-40EB-9EA2-433B1D63613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5250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86679-1434-4A9C-956B-4E5654CB4E6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561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  <a:prstGeom prst="rect">
            <a:avLst/>
          </a:prstGeo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  <a:prstGeom prst="rect">
            <a:avLst/>
          </a:prstGeo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639849" indent="0">
              <a:buNone/>
              <a:defRPr sz="1700"/>
            </a:lvl2pPr>
            <a:lvl3pPr marL="1279698" indent="0">
              <a:buNone/>
              <a:defRPr sz="1400"/>
            </a:lvl3pPr>
            <a:lvl4pPr marL="1919547" indent="0">
              <a:buNone/>
              <a:defRPr sz="1300"/>
            </a:lvl4pPr>
            <a:lvl5pPr marL="2559397" indent="0">
              <a:buNone/>
              <a:defRPr sz="1300"/>
            </a:lvl5pPr>
            <a:lvl6pPr marL="3199246" indent="0">
              <a:buNone/>
              <a:defRPr sz="1300"/>
            </a:lvl6pPr>
            <a:lvl7pPr marL="3839098" indent="0">
              <a:buNone/>
              <a:defRPr sz="1300"/>
            </a:lvl7pPr>
            <a:lvl8pPr marL="4478947" indent="0">
              <a:buNone/>
              <a:defRPr sz="1300"/>
            </a:lvl8pPr>
            <a:lvl9pPr marL="5118796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9BC44F-AB61-4C1C-8D09-3B24F5063EB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9689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  <a:prstGeom prst="rect">
            <a:avLst/>
          </a:prstGeo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500"/>
            </a:lvl1pPr>
            <a:lvl2pPr marL="639849" indent="0">
              <a:buNone/>
              <a:defRPr sz="3900"/>
            </a:lvl2pPr>
            <a:lvl3pPr marL="1279698" indent="0">
              <a:buNone/>
              <a:defRPr sz="3400"/>
            </a:lvl3pPr>
            <a:lvl4pPr marL="1919547" indent="0">
              <a:buNone/>
              <a:defRPr sz="2800"/>
            </a:lvl4pPr>
            <a:lvl5pPr marL="2559397" indent="0">
              <a:buNone/>
              <a:defRPr sz="2800"/>
            </a:lvl5pPr>
            <a:lvl6pPr marL="3199246" indent="0">
              <a:buNone/>
              <a:defRPr sz="2800"/>
            </a:lvl6pPr>
            <a:lvl7pPr marL="3839098" indent="0">
              <a:buNone/>
              <a:defRPr sz="2800"/>
            </a:lvl7pPr>
            <a:lvl8pPr marL="4478947" indent="0">
              <a:buNone/>
              <a:defRPr sz="2800"/>
            </a:lvl8pPr>
            <a:lvl9pPr marL="5118796" indent="0">
              <a:buNone/>
              <a:defRPr sz="28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639849" indent="0">
              <a:buNone/>
              <a:defRPr sz="1700"/>
            </a:lvl2pPr>
            <a:lvl3pPr marL="1279698" indent="0">
              <a:buNone/>
              <a:defRPr sz="1400"/>
            </a:lvl3pPr>
            <a:lvl4pPr marL="1919547" indent="0">
              <a:buNone/>
              <a:defRPr sz="1300"/>
            </a:lvl4pPr>
            <a:lvl5pPr marL="2559397" indent="0">
              <a:buNone/>
              <a:defRPr sz="1300"/>
            </a:lvl5pPr>
            <a:lvl6pPr marL="3199246" indent="0">
              <a:buNone/>
              <a:defRPr sz="1300"/>
            </a:lvl6pPr>
            <a:lvl7pPr marL="3839098" indent="0">
              <a:buNone/>
              <a:defRPr sz="1300"/>
            </a:lvl7pPr>
            <a:lvl8pPr marL="4478947" indent="0">
              <a:buNone/>
              <a:defRPr sz="1300"/>
            </a:lvl8pPr>
            <a:lvl9pPr marL="5118796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E640C-F6CD-4A83-85AA-07F8C4D2B86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3172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40080" y="2240282"/>
            <a:ext cx="11521440" cy="633634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918EA-9749-41C6-BD93-9A1E4873894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002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238" y="6169665"/>
            <a:ext cx="10881360" cy="1906905"/>
          </a:xfrm>
          <a:prstGeom prst="rect">
            <a:avLst/>
          </a:prstGeo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39849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7969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1954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593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9924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390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7894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187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ED2BE-6100-49FE-8EED-4DA81749887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5506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994963" y="537845"/>
            <a:ext cx="4031615" cy="11470323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95668" y="537845"/>
            <a:ext cx="11885930" cy="1147032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833C8-26A9-4774-ACDE-9FD61A191E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4424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3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860A0D5B-6834-4EBD-8DB0-15117A71DC1A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9765" y="1560197"/>
            <a:ext cx="5943306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74656" y="1560197"/>
            <a:ext cx="6203852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8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422967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2" name="Заголовок 5"/>
          <p:cNvSpPr>
            <a:spLocks noGrp="1"/>
          </p:cNvSpPr>
          <p:nvPr>
            <p:ph type="title"/>
          </p:nvPr>
        </p:nvSpPr>
        <p:spPr>
          <a:xfrm>
            <a:off x="1255542" y="162242"/>
            <a:ext cx="11422966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8439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C8192463-13A9-4CEF-BBD1-B4E63E5B7FB7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9763" y="1522414"/>
            <a:ext cx="6146409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49763" y="2620674"/>
            <a:ext cx="6146409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378" y="1522414"/>
            <a:ext cx="6113585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378" y="2620674"/>
            <a:ext cx="6113585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5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361420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6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7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9" name="Заголовок 5"/>
          <p:cNvSpPr>
            <a:spLocks noGrp="1"/>
          </p:cNvSpPr>
          <p:nvPr>
            <p:ph type="title"/>
          </p:nvPr>
        </p:nvSpPr>
        <p:spPr>
          <a:xfrm>
            <a:off x="1255541" y="162242"/>
            <a:ext cx="11361419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704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Цветно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82309" y="9001125"/>
            <a:ext cx="695641" cy="428943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/>
            </a:lvl1pPr>
          </a:lstStyle>
          <a:p>
            <a:pPr>
              <a:defRPr/>
            </a:pPr>
            <a:fld id="{0C56BF24-2B8D-42BA-9CEE-7775E6E13E6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45185" y="1878015"/>
            <a:ext cx="11818912" cy="6651942"/>
          </a:xfrm>
          <a:prstGeom prst="rect">
            <a:avLst/>
          </a:prstGeom>
        </p:spPr>
        <p:txBody>
          <a:bodyPr lIns="122169" tIns="61085" rIns="122169" bIns="61085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4"/>
          <p:cNvSpPr/>
          <p:nvPr userDrawn="1">
            <p:custDataLst>
              <p:tags r:id="rId2"/>
            </p:custDataLst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8" name="Прямоугольник 5"/>
          <p:cNvSpPr/>
          <p:nvPr userDrawn="1">
            <p:custDataLst>
              <p:tags r:id="rId3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4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5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Заголовок 4"/>
          <p:cNvSpPr txBox="1">
            <a:spLocks/>
          </p:cNvSpPr>
          <p:nvPr userDrawn="1"/>
        </p:nvSpPr>
        <p:spPr>
          <a:xfrm>
            <a:off x="1255543" y="162245"/>
            <a:ext cx="11286987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1444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9387840" y="9112252"/>
            <a:ext cx="2987040" cy="511175"/>
          </a:xfrm>
          <a:prstGeom prst="rect">
            <a:avLst/>
          </a:prstGeom>
          <a:noFill/>
          <a:extLst/>
        </p:spPr>
        <p:txBody>
          <a:bodyPr lIns="122191" tIns="61096" rIns="122191" bIns="61096" anchor="ctr"/>
          <a:lstStyle>
            <a:defPPr>
              <a:defRPr lang="en-US"/>
            </a:defPPr>
            <a:lvl1pPr algn="r" rtl="0" eaLnBrk="0" fontAlgn="auto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Calibri" pitchFamily="34" charset="0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0295704-584C-438A-91FF-9284ECD4B5EA}" type="slidenum">
              <a:rPr lang="ru-RU" sz="1600" smtClean="0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6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lIns="122191" tIns="61096" rIns="122191" bIns="61096"/>
          <a:lstStyle>
            <a:lvl1pPr>
              <a:defRPr/>
            </a:lvl1pPr>
          </a:lstStyle>
          <a:p>
            <a:pPr>
              <a:defRPr/>
            </a:pPr>
            <a:fld id="{5F2215F5-6C35-4EE5-BC9E-F87D930F252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36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8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860A0D5B-6834-4EBD-8DB0-15117A71DC1A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9765" y="1560197"/>
            <a:ext cx="5943306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74656" y="1560197"/>
            <a:ext cx="6203852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8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422967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2" name="Заголовок 5"/>
          <p:cNvSpPr>
            <a:spLocks noGrp="1"/>
          </p:cNvSpPr>
          <p:nvPr>
            <p:ph type="title"/>
          </p:nvPr>
        </p:nvSpPr>
        <p:spPr>
          <a:xfrm>
            <a:off x="1255542" y="162242"/>
            <a:ext cx="11422966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6859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0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C8192463-13A9-4CEF-BBD1-B4E63E5B7FB7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9763" y="1522414"/>
            <a:ext cx="6146409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49763" y="2620674"/>
            <a:ext cx="6146409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378" y="1522414"/>
            <a:ext cx="6113585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378" y="2620674"/>
            <a:ext cx="6113585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5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361420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6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7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9" name="Заголовок 5"/>
          <p:cNvSpPr>
            <a:spLocks noGrp="1"/>
          </p:cNvSpPr>
          <p:nvPr>
            <p:ph type="title"/>
          </p:nvPr>
        </p:nvSpPr>
        <p:spPr>
          <a:xfrm>
            <a:off x="1255541" y="162242"/>
            <a:ext cx="11361419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5988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Цветно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82309" y="9001125"/>
            <a:ext cx="695641" cy="428943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/>
            </a:lvl1pPr>
          </a:lstStyle>
          <a:p>
            <a:pPr>
              <a:defRPr/>
            </a:pPr>
            <a:fld id="{0C56BF24-2B8D-42BA-9CEE-7775E6E13E6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45185" y="1878015"/>
            <a:ext cx="11818912" cy="6651942"/>
          </a:xfrm>
          <a:prstGeom prst="rect">
            <a:avLst/>
          </a:prstGeom>
        </p:spPr>
        <p:txBody>
          <a:bodyPr lIns="122169" tIns="61085" rIns="122169" bIns="61085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4"/>
          <p:cNvSpPr/>
          <p:nvPr userDrawn="1">
            <p:custDataLst>
              <p:tags r:id="rId2"/>
            </p:custDataLst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8" name="Прямоугольник 5"/>
          <p:cNvSpPr/>
          <p:nvPr userDrawn="1">
            <p:custDataLst>
              <p:tags r:id="rId3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4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5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Заголовок 4"/>
          <p:cNvSpPr txBox="1">
            <a:spLocks/>
          </p:cNvSpPr>
          <p:nvPr userDrawn="1"/>
        </p:nvSpPr>
        <p:spPr>
          <a:xfrm>
            <a:off x="1255543" y="162245"/>
            <a:ext cx="11286987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907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9387840" y="9112252"/>
            <a:ext cx="2987040" cy="511175"/>
          </a:xfrm>
          <a:prstGeom prst="rect">
            <a:avLst/>
          </a:prstGeom>
          <a:noFill/>
          <a:extLst/>
        </p:spPr>
        <p:txBody>
          <a:bodyPr lIns="122191" tIns="61096" rIns="122191" bIns="61096" anchor="ctr"/>
          <a:lstStyle>
            <a:defPPr>
              <a:defRPr lang="en-US"/>
            </a:defPPr>
            <a:lvl1pPr algn="r" rtl="0" eaLnBrk="0" fontAlgn="auto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Calibri" pitchFamily="34" charset="0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0295704-584C-438A-91FF-9284ECD4B5EA}" type="slidenum">
              <a:rPr lang="ru-RU" sz="1600" smtClean="0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6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lIns="122191" tIns="61096" rIns="122191" bIns="61096"/>
          <a:lstStyle>
            <a:lvl1pPr>
              <a:defRPr/>
            </a:lvl1pPr>
          </a:lstStyle>
          <a:p>
            <a:pPr>
              <a:defRPr/>
            </a:pPr>
            <a:fld id="{5F2215F5-6C35-4EE5-BC9E-F87D930F252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5719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95670" y="3135948"/>
            <a:ext cx="7958772" cy="8872220"/>
          </a:xfrm>
          <a:prstGeom prst="rect">
            <a:avLst/>
          </a:prstGeo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9067800" y="3135948"/>
            <a:ext cx="7958773" cy="8872220"/>
          </a:xfrm>
          <a:prstGeom prst="rect">
            <a:avLst/>
          </a:prstGeo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077DD-5F00-4244-BD26-5B84343D25B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490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00" b="1"/>
            </a:lvl1pPr>
            <a:lvl2pPr marL="639849" indent="0">
              <a:buNone/>
              <a:defRPr sz="2800" b="1"/>
            </a:lvl2pPr>
            <a:lvl3pPr marL="1279698" indent="0">
              <a:buNone/>
              <a:defRPr sz="2500" b="1"/>
            </a:lvl3pPr>
            <a:lvl4pPr marL="1919547" indent="0">
              <a:buNone/>
              <a:defRPr sz="2200" b="1"/>
            </a:lvl4pPr>
            <a:lvl5pPr marL="2559397" indent="0">
              <a:buNone/>
              <a:defRPr sz="2200" b="1"/>
            </a:lvl5pPr>
            <a:lvl6pPr marL="3199246" indent="0">
              <a:buNone/>
              <a:defRPr sz="2200" b="1"/>
            </a:lvl6pPr>
            <a:lvl7pPr marL="3839098" indent="0">
              <a:buNone/>
              <a:defRPr sz="2200" b="1"/>
            </a:lvl7pPr>
            <a:lvl8pPr marL="4478947" indent="0">
              <a:buNone/>
              <a:defRPr sz="2200" b="1"/>
            </a:lvl8pPr>
            <a:lvl9pPr marL="5118796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03040" y="2149158"/>
            <a:ext cx="5658485" cy="8956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00" b="1"/>
            </a:lvl1pPr>
            <a:lvl2pPr marL="639849" indent="0">
              <a:buNone/>
              <a:defRPr sz="2800" b="1"/>
            </a:lvl2pPr>
            <a:lvl3pPr marL="1279698" indent="0">
              <a:buNone/>
              <a:defRPr sz="2500" b="1"/>
            </a:lvl3pPr>
            <a:lvl4pPr marL="1919547" indent="0">
              <a:buNone/>
              <a:defRPr sz="2200" b="1"/>
            </a:lvl4pPr>
            <a:lvl5pPr marL="2559397" indent="0">
              <a:buNone/>
              <a:defRPr sz="2200" b="1"/>
            </a:lvl5pPr>
            <a:lvl6pPr marL="3199246" indent="0">
              <a:buNone/>
              <a:defRPr sz="2200" b="1"/>
            </a:lvl6pPr>
            <a:lvl7pPr marL="3839098" indent="0">
              <a:buNone/>
              <a:defRPr sz="2200" b="1"/>
            </a:lvl7pPr>
            <a:lvl8pPr marL="4478947" indent="0">
              <a:buNone/>
              <a:defRPr sz="2200" b="1"/>
            </a:lvl8pPr>
            <a:lvl9pPr marL="5118796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03040" y="3044825"/>
            <a:ext cx="5658485" cy="5531803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7940C-F0AD-45AE-B718-7FE7A2ED64B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8713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849B0B-9645-40EB-9EA2-433B1D63613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170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86679-1434-4A9C-956B-4E5654CB4E6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507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  <a:prstGeom prst="rect">
            <a:avLst/>
          </a:prstGeo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  <a:prstGeom prst="rect">
            <a:avLst/>
          </a:prstGeo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639849" indent="0">
              <a:buNone/>
              <a:defRPr sz="1700"/>
            </a:lvl2pPr>
            <a:lvl3pPr marL="1279698" indent="0">
              <a:buNone/>
              <a:defRPr sz="1400"/>
            </a:lvl3pPr>
            <a:lvl4pPr marL="1919547" indent="0">
              <a:buNone/>
              <a:defRPr sz="1300"/>
            </a:lvl4pPr>
            <a:lvl5pPr marL="2559397" indent="0">
              <a:buNone/>
              <a:defRPr sz="1300"/>
            </a:lvl5pPr>
            <a:lvl6pPr marL="3199246" indent="0">
              <a:buNone/>
              <a:defRPr sz="1300"/>
            </a:lvl6pPr>
            <a:lvl7pPr marL="3839098" indent="0">
              <a:buNone/>
              <a:defRPr sz="1300"/>
            </a:lvl7pPr>
            <a:lvl8pPr marL="4478947" indent="0">
              <a:buNone/>
              <a:defRPr sz="1300"/>
            </a:lvl8pPr>
            <a:lvl9pPr marL="5118796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9BC44F-AB61-4C1C-8D09-3B24F5063EB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4817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  <a:prstGeom prst="rect">
            <a:avLst/>
          </a:prstGeo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500"/>
            </a:lvl1pPr>
            <a:lvl2pPr marL="639849" indent="0">
              <a:buNone/>
              <a:defRPr sz="3900"/>
            </a:lvl2pPr>
            <a:lvl3pPr marL="1279698" indent="0">
              <a:buNone/>
              <a:defRPr sz="3400"/>
            </a:lvl3pPr>
            <a:lvl4pPr marL="1919547" indent="0">
              <a:buNone/>
              <a:defRPr sz="2800"/>
            </a:lvl4pPr>
            <a:lvl5pPr marL="2559397" indent="0">
              <a:buNone/>
              <a:defRPr sz="2800"/>
            </a:lvl5pPr>
            <a:lvl6pPr marL="3199246" indent="0">
              <a:buNone/>
              <a:defRPr sz="2800"/>
            </a:lvl6pPr>
            <a:lvl7pPr marL="3839098" indent="0">
              <a:buNone/>
              <a:defRPr sz="2800"/>
            </a:lvl7pPr>
            <a:lvl8pPr marL="4478947" indent="0">
              <a:buNone/>
              <a:defRPr sz="2800"/>
            </a:lvl8pPr>
            <a:lvl9pPr marL="5118796" indent="0">
              <a:buNone/>
              <a:defRPr sz="28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639849" indent="0">
              <a:buNone/>
              <a:defRPr sz="1700"/>
            </a:lvl2pPr>
            <a:lvl3pPr marL="1279698" indent="0">
              <a:buNone/>
              <a:defRPr sz="1400"/>
            </a:lvl3pPr>
            <a:lvl4pPr marL="1919547" indent="0">
              <a:buNone/>
              <a:defRPr sz="1300"/>
            </a:lvl4pPr>
            <a:lvl5pPr marL="2559397" indent="0">
              <a:buNone/>
              <a:defRPr sz="1300"/>
            </a:lvl5pPr>
            <a:lvl6pPr marL="3199246" indent="0">
              <a:buNone/>
              <a:defRPr sz="1300"/>
            </a:lvl6pPr>
            <a:lvl7pPr marL="3839098" indent="0">
              <a:buNone/>
              <a:defRPr sz="1300"/>
            </a:lvl7pPr>
            <a:lvl8pPr marL="4478947" indent="0">
              <a:buNone/>
              <a:defRPr sz="1300"/>
            </a:lvl8pPr>
            <a:lvl9pPr marL="5118796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E640C-F6CD-4A83-85AA-07F8C4D2B86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889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39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40080" y="8898895"/>
            <a:ext cx="2987040" cy="511175"/>
          </a:xfrm>
          <a:prstGeom prst="rect">
            <a:avLst/>
          </a:prstGeom>
        </p:spPr>
        <p:txBody>
          <a:bodyPr vert="horz" lIns="127970" tIns="63987" rIns="127970" bIns="63987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038C17-F90B-489F-A041-4C4E9475FD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373880" y="8898895"/>
            <a:ext cx="4053840" cy="511175"/>
          </a:xfrm>
          <a:prstGeom prst="rect">
            <a:avLst/>
          </a:prstGeom>
        </p:spPr>
        <p:txBody>
          <a:bodyPr vert="horz" lIns="127970" tIns="63987" rIns="127970" bIns="63987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74480" y="8898895"/>
            <a:ext cx="2987040" cy="511175"/>
          </a:xfrm>
          <a:prstGeom prst="rect">
            <a:avLst/>
          </a:prstGeom>
        </p:spPr>
        <p:txBody>
          <a:bodyPr vert="horz" lIns="127970" tIns="63987" rIns="127970" bIns="63987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4"/>
          <p:cNvSpPr txBox="1">
            <a:spLocks noGrp="1"/>
          </p:cNvSpPr>
          <p:nvPr userDrawn="1">
            <p:custDataLst>
              <p:tags r:id="rId21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13" name="Заголовок 5"/>
          <p:cNvSpPr txBox="1">
            <a:spLocks/>
          </p:cNvSpPr>
          <p:nvPr userDrawn="1"/>
        </p:nvSpPr>
        <p:spPr>
          <a:xfrm>
            <a:off x="1255543" y="162242"/>
            <a:ext cx="11160369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bg1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ru-RU" smtClean="0">
                <a:solidFill>
                  <a:prstClr val="white"/>
                </a:solidFill>
              </a:rPr>
              <a:t>Образец заголовка</a:t>
            </a:r>
            <a:endParaRPr lang="ru-RU">
              <a:solidFill>
                <a:prstClr val="white"/>
              </a:solidFill>
            </a:endParaRPr>
          </a:p>
        </p:txBody>
      </p:sp>
      <p:pic>
        <p:nvPicPr>
          <p:cNvPr id="14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" y="1"/>
            <a:ext cx="3340689" cy="47243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5143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7" r:id="rId12"/>
    <p:sldLayoutId id="2147483808" r:id="rId13"/>
    <p:sldLayoutId id="2147483809" r:id="rId14"/>
    <p:sldLayoutId id="2147483810" r:id="rId15"/>
    <p:sldLayoutId id="2147483780" r:id="rId16"/>
    <p:sldLayoutId id="2147483781" r:id="rId17"/>
    <p:sldLayoutId id="2147483790" r:id="rId18"/>
    <p:sldLayoutId id="2147483791" r:id="rId19"/>
  </p:sldLayoutIdLst>
  <p:hf hdr="0" ftr="0" dt="0"/>
  <p:txStyles>
    <p:titleStyle>
      <a:lvl1pPr algn="ctr" defTabSz="1279698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79888" indent="-479888" algn="l" defTabSz="1279698" rtl="0" eaLnBrk="1" latinLnBrk="0" hangingPunct="1">
        <a:spcBef>
          <a:spcPct val="20000"/>
        </a:spcBef>
        <a:buFont typeface="Arial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39756" indent="-399904" algn="l" defTabSz="1279698" rtl="0" eaLnBrk="1" latinLnBrk="0" hangingPunct="1">
        <a:spcBef>
          <a:spcPct val="20000"/>
        </a:spcBef>
        <a:buFont typeface="Arial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599625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39474" indent="-319925" algn="l" defTabSz="127969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323" indent="-319925" algn="l" defTabSz="1279698" rtl="0" eaLnBrk="1" latinLnBrk="0" hangingPunct="1">
        <a:spcBef>
          <a:spcPct val="20000"/>
        </a:spcBef>
        <a:buFont typeface="Arial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172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021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8872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8723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849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698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547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397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246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098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947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8796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40080" y="8898895"/>
            <a:ext cx="2987040" cy="511175"/>
          </a:xfrm>
          <a:prstGeom prst="rect">
            <a:avLst/>
          </a:prstGeom>
        </p:spPr>
        <p:txBody>
          <a:bodyPr vert="horz" lIns="127970" tIns="63987" rIns="127970" bIns="63987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038C17-F90B-489F-A041-4C4E9475FD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373880" y="8898895"/>
            <a:ext cx="4053840" cy="511175"/>
          </a:xfrm>
          <a:prstGeom prst="rect">
            <a:avLst/>
          </a:prstGeom>
        </p:spPr>
        <p:txBody>
          <a:bodyPr vert="horz" lIns="127970" tIns="63987" rIns="127970" bIns="63987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74480" y="8898895"/>
            <a:ext cx="2987040" cy="511175"/>
          </a:xfrm>
          <a:prstGeom prst="rect">
            <a:avLst/>
          </a:prstGeom>
        </p:spPr>
        <p:txBody>
          <a:bodyPr vert="horz" lIns="127970" tIns="63987" rIns="127970" bIns="63987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4"/>
          <p:cNvSpPr txBox="1">
            <a:spLocks noGrp="1"/>
          </p:cNvSpPr>
          <p:nvPr userDrawn="1">
            <p:custDataLst>
              <p:tags r:id="rId21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13" name="Заголовок 5"/>
          <p:cNvSpPr txBox="1">
            <a:spLocks/>
          </p:cNvSpPr>
          <p:nvPr userDrawn="1"/>
        </p:nvSpPr>
        <p:spPr>
          <a:xfrm>
            <a:off x="1255543" y="162242"/>
            <a:ext cx="11160369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bg1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ru-RU" smtClean="0">
                <a:solidFill>
                  <a:prstClr val="white"/>
                </a:solidFill>
              </a:rPr>
              <a:t>Образец заголовка</a:t>
            </a:r>
            <a:endParaRPr lang="ru-RU">
              <a:solidFill>
                <a:prstClr val="white"/>
              </a:solidFill>
            </a:endParaRPr>
          </a:p>
        </p:txBody>
      </p:sp>
      <p:pic>
        <p:nvPicPr>
          <p:cNvPr id="14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" y="1"/>
            <a:ext cx="3340689" cy="47243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923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</p:sldLayoutIdLst>
  <p:hf hdr="0" ftr="0" dt="0"/>
  <p:txStyles>
    <p:titleStyle>
      <a:lvl1pPr algn="ctr" defTabSz="1279698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79888" indent="-479888" algn="l" defTabSz="1279698" rtl="0" eaLnBrk="1" latinLnBrk="0" hangingPunct="1">
        <a:spcBef>
          <a:spcPct val="20000"/>
        </a:spcBef>
        <a:buFont typeface="Arial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39756" indent="-399904" algn="l" defTabSz="1279698" rtl="0" eaLnBrk="1" latinLnBrk="0" hangingPunct="1">
        <a:spcBef>
          <a:spcPct val="20000"/>
        </a:spcBef>
        <a:buFont typeface="Arial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599625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39474" indent="-319925" algn="l" defTabSz="127969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323" indent="-319925" algn="l" defTabSz="1279698" rtl="0" eaLnBrk="1" latinLnBrk="0" hangingPunct="1">
        <a:spcBef>
          <a:spcPct val="20000"/>
        </a:spcBef>
        <a:buFont typeface="Arial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172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021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8872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8723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849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698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547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397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246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098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947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8796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910951" y="9025247"/>
            <a:ext cx="700644" cy="4631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Прямоугольник 3"/>
          <p:cNvSpPr/>
          <p:nvPr/>
        </p:nvSpPr>
        <p:spPr>
          <a:xfrm>
            <a:off x="1485431" y="3484626"/>
            <a:ext cx="3510390" cy="2800501"/>
          </a:xfrm>
          <a:prstGeom prst="rect">
            <a:avLst/>
          </a:prstGeom>
        </p:spPr>
        <p:txBody>
          <a:bodyPr wrap="none" lIns="95782" tIns="47891" rIns="95782" bIns="47891">
            <a:noAutofit/>
          </a:bodyPr>
          <a:lstStyle/>
          <a:p>
            <a:pPr algn="dist">
              <a:lnSpc>
                <a:spcPct val="90000"/>
              </a:lnSpc>
            </a:pPr>
            <a:r>
              <a:rPr lang="ru-RU" sz="4400" b="1" dirty="0" smtClean="0">
                <a:solidFill>
                  <a:srgbClr val="535353"/>
                </a:solidFill>
                <a:latin typeface="Arial" pitchFamily="34" charset="0"/>
                <a:cs typeface="Arial" pitchFamily="34" charset="0"/>
              </a:rPr>
              <a:t>Роль инвесторов в развитии</a:t>
            </a:r>
          </a:p>
          <a:p>
            <a:pPr algn="dist">
              <a:lnSpc>
                <a:spcPct val="90000"/>
              </a:lnSpc>
            </a:pPr>
            <a:r>
              <a:rPr lang="ru-RU" sz="4400" b="1" dirty="0" smtClean="0">
                <a:solidFill>
                  <a:srgbClr val="535353"/>
                </a:solidFill>
                <a:latin typeface="Arial" pitchFamily="34" charset="0"/>
                <a:cs typeface="Arial" pitchFamily="34" charset="0"/>
              </a:rPr>
              <a:t>ИЦ </a:t>
            </a:r>
            <a:r>
              <a:rPr lang="ru-RU" sz="4400" b="1" dirty="0" err="1" smtClean="0">
                <a:solidFill>
                  <a:srgbClr val="535353"/>
                </a:solidFill>
                <a:latin typeface="Arial" pitchFamily="34" charset="0"/>
                <a:cs typeface="Arial" pitchFamily="34" charset="0"/>
              </a:rPr>
              <a:t>Сколково</a:t>
            </a:r>
            <a:endParaRPr lang="ru-RU" sz="4400" b="1" dirty="0" smtClean="0">
              <a:solidFill>
                <a:srgbClr val="535353"/>
              </a:solidFill>
              <a:latin typeface="Arial" pitchFamily="34" charset="0"/>
              <a:cs typeface="Arial" pitchFamily="34" charset="0"/>
            </a:endParaRPr>
          </a:p>
          <a:p>
            <a:pPr algn="dist">
              <a:lnSpc>
                <a:spcPct val="90000"/>
              </a:lnSpc>
            </a:pPr>
            <a:endParaRPr lang="ru-RU" sz="4400" dirty="0">
              <a:solidFill>
                <a:srgbClr val="535353"/>
              </a:solidFill>
              <a:latin typeface="Arial" pitchFamily="34" charset="0"/>
              <a:cs typeface="Arial" pitchFamily="34" charset="0"/>
            </a:endParaRPr>
          </a:p>
          <a:p>
            <a:pPr algn="dist">
              <a:lnSpc>
                <a:spcPct val="90000"/>
              </a:lnSpc>
            </a:pPr>
            <a:r>
              <a:rPr lang="ru-RU" b="0" dirty="0" smtClean="0">
                <a:solidFill>
                  <a:srgbClr val="535353"/>
                </a:solidFill>
                <a:latin typeface="Arial" pitchFamily="34" charset="0"/>
                <a:cs typeface="Arial" pitchFamily="34" charset="0"/>
              </a:rPr>
              <a:t>Заседание Градостроительного Совета</a:t>
            </a:r>
          </a:p>
          <a:p>
            <a:pPr algn="dist">
              <a:lnSpc>
                <a:spcPct val="90000"/>
              </a:lnSpc>
            </a:pPr>
            <a:r>
              <a:rPr lang="ru-RU" b="0" dirty="0" smtClean="0">
                <a:solidFill>
                  <a:srgbClr val="535353"/>
                </a:solidFill>
                <a:latin typeface="Arial" pitchFamily="34" charset="0"/>
                <a:cs typeface="Arial" pitchFamily="34" charset="0"/>
              </a:rPr>
              <a:t>29.03.2013</a:t>
            </a:r>
            <a:r>
              <a:rPr lang="ru-RU" sz="4400" b="0" dirty="0" smtClean="0">
                <a:solidFill>
                  <a:srgbClr val="535353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4400" b="0" dirty="0" smtClean="0">
              <a:solidFill>
                <a:srgbClr val="535353"/>
              </a:solidFill>
              <a:latin typeface="Arial" pitchFamily="34" charset="0"/>
              <a:cs typeface="Arial" pitchFamily="34" charset="0"/>
            </a:endParaRPr>
          </a:p>
          <a:p>
            <a:pPr algn="dist">
              <a:lnSpc>
                <a:spcPct val="90000"/>
              </a:lnSpc>
            </a:pPr>
            <a:endParaRPr lang="ru-RU" sz="4400" b="1" dirty="0">
              <a:solidFill>
                <a:srgbClr val="535353"/>
              </a:solidFill>
              <a:latin typeface="Arial" pitchFamily="34" charset="0"/>
              <a:cs typeface="Arial" pitchFamily="34" charset="0"/>
            </a:endParaRPr>
          </a:p>
          <a:p>
            <a:pPr algn="dist">
              <a:lnSpc>
                <a:spcPct val="90000"/>
              </a:lnSpc>
            </a:pPr>
            <a:r>
              <a:rPr lang="en-US" sz="4400" dirty="0" smtClean="0">
                <a:solidFill>
                  <a:srgbClr val="535353"/>
                </a:solidFill>
                <a:latin typeface="Arial" pitchFamily="34" charset="0"/>
                <a:cs typeface="Arial" pitchFamily="34" charset="0"/>
              </a:rPr>
              <a:t>      </a:t>
            </a:r>
            <a:endParaRPr lang="ru-RU" sz="4400" b="1" dirty="0" smtClean="0">
              <a:solidFill>
                <a:srgbClr val="535353"/>
              </a:solidFill>
              <a:latin typeface="Arial" pitchFamily="34" charset="0"/>
              <a:cs typeface="Arial" pitchFamily="34" charset="0"/>
            </a:endParaRPr>
          </a:p>
          <a:p>
            <a:pPr algn="dist">
              <a:lnSpc>
                <a:spcPct val="90000"/>
              </a:lnSpc>
            </a:pPr>
            <a:r>
              <a:rPr lang="ru-RU" sz="4400" b="1" dirty="0" smtClean="0">
                <a:solidFill>
                  <a:srgbClr val="535353"/>
                </a:solidFill>
                <a:latin typeface="+mj-lt"/>
                <a:cs typeface="Arial"/>
              </a:rPr>
              <a:t> </a:t>
            </a:r>
            <a:endParaRPr lang="ru-RU" sz="4400" b="1" dirty="0">
              <a:solidFill>
                <a:srgbClr val="535353"/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681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2"/>
          <p:cNvSpPr txBox="1">
            <a:spLocks/>
          </p:cNvSpPr>
          <p:nvPr/>
        </p:nvSpPr>
        <p:spPr bwMode="auto">
          <a:xfrm>
            <a:off x="1086138" y="812650"/>
            <a:ext cx="873654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Реализация Программы города</a:t>
            </a: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635262" y="2518177"/>
            <a:ext cx="3024689" cy="923330"/>
          </a:xfrm>
          <a:prstGeom prst="rect">
            <a:avLst/>
          </a:prstGeom>
          <a:solidFill>
            <a:srgbClr val="0000FF">
              <a:alpha val="27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За счет субсидий</a:t>
            </a:r>
            <a:endParaRPr lang="ru-RU" sz="180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kern="0" noProof="0" dirty="0" smtClean="0">
                <a:solidFill>
                  <a:sysClr val="windowText" lastClr="000000"/>
                </a:solidFill>
              </a:rPr>
              <a:t>г</a:t>
            </a:r>
            <a:r>
              <a:rPr kumimoji="0" lang="ru-RU" sz="18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осударства</a:t>
            </a:r>
            <a:endParaRPr kumimoji="0" lang="en-US" sz="1800" i="0" u="none" strike="noStrike" kern="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0" baseline="0" dirty="0" smtClean="0">
                <a:solidFill>
                  <a:sysClr val="windowText" lastClr="000000"/>
                </a:solidFill>
              </a:rPr>
              <a:t>(</a:t>
            </a:r>
            <a:r>
              <a:rPr lang="ru-RU" sz="1800" kern="0" baseline="0" dirty="0" smtClean="0">
                <a:solidFill>
                  <a:sysClr val="windowText" lastClr="000000"/>
                </a:solidFill>
              </a:rPr>
              <a:t>к</a:t>
            </a:r>
            <a:r>
              <a:rPr lang="en-US" sz="1800" kern="0" dirty="0" smtClean="0">
                <a:solidFill>
                  <a:sysClr val="windowText" lastClr="000000"/>
                </a:solidFill>
              </a:rPr>
              <a:t> </a:t>
            </a:r>
            <a:r>
              <a:rPr lang="ru-RU" sz="1800" kern="0" dirty="0" smtClean="0">
                <a:solidFill>
                  <a:sysClr val="windowText" lastClr="000000"/>
                </a:solidFill>
              </a:rPr>
              <a:t>концу </a:t>
            </a:r>
            <a:r>
              <a:rPr lang="en-US" sz="1800" kern="0" dirty="0" smtClean="0">
                <a:solidFill>
                  <a:sysClr val="windowText" lastClr="000000"/>
                </a:solidFill>
              </a:rPr>
              <a:t>2015 </a:t>
            </a:r>
            <a:r>
              <a:rPr lang="ru-RU" sz="1800" kern="0" dirty="0" smtClean="0">
                <a:solidFill>
                  <a:sysClr val="windowText" lastClr="000000"/>
                </a:solidFill>
              </a:rPr>
              <a:t>г</a:t>
            </a:r>
            <a:r>
              <a:rPr lang="en-US" sz="1800" kern="0" dirty="0" smtClean="0">
                <a:solidFill>
                  <a:sysClr val="windowText" lastClr="000000"/>
                </a:solidFill>
              </a:rPr>
              <a:t>)</a:t>
            </a:r>
            <a:endParaRPr kumimoji="0" lang="ru-RU" sz="18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822680" y="2518177"/>
            <a:ext cx="2655596" cy="923330"/>
          </a:xfrm>
          <a:prstGeom prst="rect">
            <a:avLst/>
          </a:prstGeom>
          <a:solidFill>
            <a:srgbClr val="FF0000">
              <a:alpha val="35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За счет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привлечения внешних инвестиций</a:t>
            </a:r>
            <a:endParaRPr kumimoji="0" lang="ru-RU" sz="18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635263" y="1863428"/>
            <a:ext cx="5889582" cy="369332"/>
          </a:xfrm>
          <a:prstGeom prst="rect">
            <a:avLst/>
          </a:prstGeom>
          <a:solidFill>
            <a:srgbClr val="FFFFFF">
              <a:lumMod val="65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Программа города</a:t>
            </a:r>
            <a:endParaRPr kumimoji="0" lang="ru-RU" sz="18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822680" y="3749623"/>
            <a:ext cx="2655596" cy="4016484"/>
          </a:xfrm>
          <a:prstGeom prst="rect">
            <a:avLst/>
          </a:prstGeom>
          <a:solidFill>
            <a:srgbClr val="D2FF00">
              <a:lumMod val="40000"/>
              <a:lumOff val="60000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70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70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70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Прочие объекты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70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700" b="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700" b="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9" name="Равнобедренный треугольник 18"/>
          <p:cNvSpPr/>
          <p:nvPr/>
        </p:nvSpPr>
        <p:spPr>
          <a:xfrm rot="10800000">
            <a:off x="8483135" y="2309153"/>
            <a:ext cx="2410675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Равнобедренный треугольник 19"/>
          <p:cNvSpPr/>
          <p:nvPr/>
        </p:nvSpPr>
        <p:spPr>
          <a:xfrm rot="10800000">
            <a:off x="7353861" y="3540599"/>
            <a:ext cx="1688074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59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80" y="1892308"/>
            <a:ext cx="5866387" cy="6754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Равнобедренный треугольник 20"/>
          <p:cNvSpPr/>
          <p:nvPr/>
        </p:nvSpPr>
        <p:spPr>
          <a:xfrm rot="10800000">
            <a:off x="10317194" y="3540599"/>
            <a:ext cx="1688074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635262" y="3749623"/>
            <a:ext cx="3024689" cy="4016484"/>
          </a:xfrm>
          <a:prstGeom prst="rect">
            <a:avLst/>
          </a:prstGeom>
          <a:solidFill>
            <a:srgbClr val="D2FF00">
              <a:lumMod val="40000"/>
              <a:lumOff val="60000"/>
            </a:srgbClr>
          </a:solidFill>
        </p:spPr>
        <p:txBody>
          <a:bodyPr wrap="square">
            <a:spAutoFit/>
          </a:bodyPr>
          <a:lstStyle/>
          <a:p>
            <a:pPr marL="17780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7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СколТех</a:t>
            </a: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17780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700" b="0" kern="0" dirty="0" smtClean="0">
                <a:solidFill>
                  <a:sysClr val="windowText" lastClr="000000"/>
                </a:solidFill>
              </a:rPr>
              <a:t>Технопарк (2 корпуса)</a:t>
            </a: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700" b="0" kern="0" dirty="0" err="1">
                <a:solidFill>
                  <a:sysClr val="windowText" lastClr="000000"/>
                </a:solidFill>
              </a:rPr>
              <a:t>Апартотели</a:t>
            </a:r>
            <a:r>
              <a:rPr lang="ru-RU" sz="1700" b="0" kern="0" dirty="0">
                <a:solidFill>
                  <a:sysClr val="windowText" lastClr="000000"/>
                </a:solidFill>
              </a:rPr>
              <a:t> </a:t>
            </a:r>
            <a:r>
              <a:rPr lang="en-US" sz="1700" b="0" kern="0" dirty="0" smtClean="0">
                <a:solidFill>
                  <a:sysClr val="windowText" lastClr="000000"/>
                </a:solidFill>
              </a:rPr>
              <a:t>D2</a:t>
            </a:r>
            <a:r>
              <a:rPr lang="ru-RU" sz="1700" b="0" kern="0" dirty="0" smtClean="0">
                <a:solidFill>
                  <a:sysClr val="windowText" lastClr="000000"/>
                </a:solidFill>
              </a:rPr>
              <a:t> (</a:t>
            </a:r>
            <a:r>
              <a:rPr lang="ru-RU" sz="1700" b="0" kern="0" dirty="0" err="1" smtClean="0">
                <a:solidFill>
                  <a:sysClr val="windowText" lastClr="000000"/>
                </a:solidFill>
              </a:rPr>
              <a:t>софинансирование</a:t>
            </a:r>
            <a:r>
              <a:rPr lang="ru-RU" sz="1700" b="0" kern="0" dirty="0" smtClean="0">
                <a:solidFill>
                  <a:sysClr val="windowText" lastClr="000000"/>
                </a:solidFill>
              </a:rPr>
              <a:t> ВЭБ)</a:t>
            </a:r>
            <a:endParaRPr lang="en-US" sz="1700" b="0" kern="0" dirty="0">
              <a:solidFill>
                <a:sysClr val="windowText" lastClr="000000"/>
              </a:solidFill>
            </a:endParaRPr>
          </a:p>
          <a:p>
            <a:pPr marL="17780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700" b="0" kern="0" dirty="0" smtClean="0">
                <a:solidFill>
                  <a:sysClr val="windowText" lastClr="000000"/>
                </a:solidFill>
              </a:rPr>
              <a:t>Семейный кампус </a:t>
            </a:r>
            <a:r>
              <a:rPr lang="en-US" sz="1700" b="0" kern="0" dirty="0" smtClean="0">
                <a:solidFill>
                  <a:sysClr val="windowText" lastClr="000000"/>
                </a:solidFill>
              </a:rPr>
              <a:t>D2</a:t>
            </a:r>
          </a:p>
          <a:p>
            <a:pPr marL="17780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700" b="0" kern="0" dirty="0" smtClean="0">
                <a:solidFill>
                  <a:sysClr val="windowText" lastClr="000000"/>
                </a:solidFill>
              </a:rPr>
              <a:t>Центр городского развития (Куб)</a:t>
            </a:r>
          </a:p>
          <a:p>
            <a:pPr marL="17780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700" b="0" kern="0" dirty="0" smtClean="0">
                <a:solidFill>
                  <a:sysClr val="windowText" lastClr="000000"/>
                </a:solidFill>
              </a:rPr>
              <a:t>Центральная зона:</a:t>
            </a:r>
          </a:p>
          <a:p>
            <a:pPr marL="641350" lvl="1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700" b="0" kern="0" dirty="0" smtClean="0">
                <a:solidFill>
                  <a:sysClr val="windowText" lastClr="000000"/>
                </a:solidFill>
              </a:rPr>
              <a:t>Преподавательский квартал</a:t>
            </a:r>
          </a:p>
          <a:p>
            <a:pPr marL="641350" lvl="1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700" b="0" kern="0" dirty="0" smtClean="0">
                <a:solidFill>
                  <a:sysClr val="windowText" lastClr="000000"/>
                </a:solidFill>
              </a:rPr>
              <a:t>Студенческий квартал</a:t>
            </a:r>
          </a:p>
          <a:p>
            <a:pPr marL="641350" lvl="1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700" b="0" kern="0" dirty="0" smtClean="0">
                <a:solidFill>
                  <a:sysClr val="windowText" lastClr="000000"/>
                </a:solidFill>
              </a:rPr>
              <a:t>Рыночный квартал</a:t>
            </a:r>
          </a:p>
          <a:p>
            <a:pPr marL="17780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700" b="0" kern="0" dirty="0" smtClean="0">
                <a:solidFill>
                  <a:sysClr val="windowText" lastClr="000000"/>
                </a:solidFill>
              </a:rPr>
              <a:t>Коллектор, городские инженерные сети</a:t>
            </a:r>
          </a:p>
        </p:txBody>
      </p:sp>
      <p:sp>
        <p:nvSpPr>
          <p:cNvPr id="23" name="Равнобедренный треугольник 22"/>
          <p:cNvSpPr/>
          <p:nvPr/>
        </p:nvSpPr>
        <p:spPr>
          <a:xfrm rot="10800000">
            <a:off x="7360258" y="7802913"/>
            <a:ext cx="1688074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Равнобедренный треугольник 23"/>
          <p:cNvSpPr/>
          <p:nvPr/>
        </p:nvSpPr>
        <p:spPr>
          <a:xfrm rot="10800000">
            <a:off x="10323591" y="7802913"/>
            <a:ext cx="1688074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795060" y="8011938"/>
            <a:ext cx="2729938" cy="877163"/>
          </a:xfrm>
          <a:prstGeom prst="rect">
            <a:avLst/>
          </a:prstGeom>
          <a:solidFill>
            <a:srgbClr val="0000FF">
              <a:alpha val="32000"/>
            </a:srgbClr>
          </a:solidFill>
        </p:spPr>
        <p:txBody>
          <a:bodyPr wrap="square">
            <a:sp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ru-RU" sz="1700" kern="0" dirty="0" smtClean="0">
              <a:solidFill>
                <a:sysClr val="windowText" lastClr="000000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700" kern="0" dirty="0" smtClean="0">
                <a:solidFill>
                  <a:sysClr val="windowText" lastClr="000000"/>
                </a:solidFill>
              </a:rPr>
              <a:t>ОДПС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ru-RU" sz="1700" kern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9822680" y="8011938"/>
            <a:ext cx="2729938" cy="877163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txBody>
          <a:bodyPr wrap="square">
            <a:sp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ru-RU" sz="1700" kern="0" dirty="0" smtClean="0">
              <a:solidFill>
                <a:sysClr val="windowText" lastClr="000000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700" kern="0" dirty="0" smtClean="0">
                <a:solidFill>
                  <a:sysClr val="windowText" lastClr="000000"/>
                </a:solidFill>
              </a:rPr>
              <a:t>ОДАС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ru-RU" sz="1700" kern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 rot="21412714">
            <a:off x="2641600" y="5334000"/>
            <a:ext cx="222250" cy="615950"/>
          </a:xfrm>
          <a:prstGeom prst="rect">
            <a:avLst/>
          </a:prstGeom>
          <a:solidFill>
            <a:srgbClr val="0000FF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3432570" y="5450265"/>
            <a:ext cx="442913" cy="429041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/>
          <p:cNvSpPr/>
          <p:nvPr/>
        </p:nvSpPr>
        <p:spPr>
          <a:xfrm>
            <a:off x="3450431" y="5879306"/>
            <a:ext cx="276225" cy="285750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/>
          <p:cNvSpPr/>
          <p:nvPr/>
        </p:nvSpPr>
        <p:spPr>
          <a:xfrm>
            <a:off x="2487549" y="6022181"/>
            <a:ext cx="392907" cy="400050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/>
          <p:cNvSpPr/>
          <p:nvPr/>
        </p:nvSpPr>
        <p:spPr>
          <a:xfrm>
            <a:off x="2954274" y="5991224"/>
            <a:ext cx="343757" cy="350045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/>
          <p:cNvSpPr/>
          <p:nvPr/>
        </p:nvSpPr>
        <p:spPr>
          <a:xfrm>
            <a:off x="2954274" y="6512719"/>
            <a:ext cx="231502" cy="228600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/>
          <p:cNvSpPr/>
          <p:nvPr/>
        </p:nvSpPr>
        <p:spPr>
          <a:xfrm>
            <a:off x="2845593" y="6391274"/>
            <a:ext cx="175875" cy="180975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2607399" y="6446044"/>
            <a:ext cx="175875" cy="180975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Овал 34"/>
          <p:cNvSpPr/>
          <p:nvPr/>
        </p:nvSpPr>
        <p:spPr>
          <a:xfrm>
            <a:off x="2745582" y="6550820"/>
            <a:ext cx="175875" cy="180975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/>
          <p:cNvSpPr/>
          <p:nvPr/>
        </p:nvSpPr>
        <p:spPr>
          <a:xfrm>
            <a:off x="3481386" y="6175771"/>
            <a:ext cx="104775" cy="123824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Хорда 3"/>
          <p:cNvSpPr/>
          <p:nvPr/>
        </p:nvSpPr>
        <p:spPr>
          <a:xfrm rot="1117387">
            <a:off x="3160426" y="6298596"/>
            <a:ext cx="216002" cy="218650"/>
          </a:xfrm>
          <a:prstGeom prst="chord">
            <a:avLst/>
          </a:prstGeom>
          <a:solidFill>
            <a:srgbClr val="0000FF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Хорда 36"/>
          <p:cNvSpPr/>
          <p:nvPr/>
        </p:nvSpPr>
        <p:spPr>
          <a:xfrm rot="1117387">
            <a:off x="3058127" y="5289013"/>
            <a:ext cx="263886" cy="272859"/>
          </a:xfrm>
          <a:prstGeom prst="chord">
            <a:avLst/>
          </a:prstGeom>
          <a:solidFill>
            <a:srgbClr val="0000FF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Хорда 37"/>
          <p:cNvSpPr/>
          <p:nvPr/>
        </p:nvSpPr>
        <p:spPr>
          <a:xfrm rot="1117387">
            <a:off x="3078896" y="5569501"/>
            <a:ext cx="269970" cy="254807"/>
          </a:xfrm>
          <a:prstGeom prst="chord">
            <a:avLst/>
          </a:prstGeom>
          <a:solidFill>
            <a:srgbClr val="0000FF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Хорда 38"/>
          <p:cNvSpPr/>
          <p:nvPr/>
        </p:nvSpPr>
        <p:spPr>
          <a:xfrm rot="1117387">
            <a:off x="3107045" y="5793279"/>
            <a:ext cx="256970" cy="214449"/>
          </a:xfrm>
          <a:prstGeom prst="chord">
            <a:avLst/>
          </a:prstGeom>
          <a:solidFill>
            <a:srgbClr val="0000FF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 rot="21412714">
            <a:off x="3605104" y="4734180"/>
            <a:ext cx="121753" cy="152551"/>
          </a:xfrm>
          <a:prstGeom prst="rect">
            <a:avLst/>
          </a:prstGeom>
          <a:solidFill>
            <a:srgbClr val="0000FF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Овал 40"/>
          <p:cNvSpPr/>
          <p:nvPr/>
        </p:nvSpPr>
        <p:spPr>
          <a:xfrm>
            <a:off x="3806426" y="4064378"/>
            <a:ext cx="508399" cy="507622"/>
          </a:xfrm>
          <a:prstGeom prst="ellipse">
            <a:avLst/>
          </a:prstGeom>
          <a:solidFill>
            <a:srgbClr val="0000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олилиния 41"/>
          <p:cNvSpPr/>
          <p:nvPr/>
        </p:nvSpPr>
        <p:spPr>
          <a:xfrm>
            <a:off x="1287780" y="2644140"/>
            <a:ext cx="4497816" cy="5135355"/>
          </a:xfrm>
          <a:custGeom>
            <a:avLst/>
            <a:gdLst>
              <a:gd name="connsiteX0" fmla="*/ 4335780 w 4497816"/>
              <a:gd name="connsiteY0" fmla="*/ 0 h 5135355"/>
              <a:gd name="connsiteX1" fmla="*/ 4335780 w 4497816"/>
              <a:gd name="connsiteY1" fmla="*/ 525780 h 5135355"/>
              <a:gd name="connsiteX2" fmla="*/ 4488180 w 4497816"/>
              <a:gd name="connsiteY2" fmla="*/ 1203960 h 5135355"/>
              <a:gd name="connsiteX3" fmla="*/ 4465320 w 4497816"/>
              <a:gd name="connsiteY3" fmla="*/ 1325880 h 5135355"/>
              <a:gd name="connsiteX4" fmla="*/ 4328160 w 4497816"/>
              <a:gd name="connsiteY4" fmla="*/ 1501140 h 5135355"/>
              <a:gd name="connsiteX5" fmla="*/ 4221480 w 4497816"/>
              <a:gd name="connsiteY5" fmla="*/ 1554480 h 5135355"/>
              <a:gd name="connsiteX6" fmla="*/ 3802380 w 4497816"/>
              <a:gd name="connsiteY6" fmla="*/ 1554480 h 5135355"/>
              <a:gd name="connsiteX7" fmla="*/ 2895600 w 4497816"/>
              <a:gd name="connsiteY7" fmla="*/ 1958340 h 5135355"/>
              <a:gd name="connsiteX8" fmla="*/ 2712720 w 4497816"/>
              <a:gd name="connsiteY8" fmla="*/ 1958340 h 5135355"/>
              <a:gd name="connsiteX9" fmla="*/ 2446020 w 4497816"/>
              <a:gd name="connsiteY9" fmla="*/ 1844040 h 5135355"/>
              <a:gd name="connsiteX10" fmla="*/ 1988820 w 4497816"/>
              <a:gd name="connsiteY10" fmla="*/ 1828800 h 5135355"/>
              <a:gd name="connsiteX11" fmla="*/ 1874520 w 4497816"/>
              <a:gd name="connsiteY11" fmla="*/ 1859280 h 5135355"/>
              <a:gd name="connsiteX12" fmla="*/ 1775460 w 4497816"/>
              <a:gd name="connsiteY12" fmla="*/ 1935480 h 5135355"/>
              <a:gd name="connsiteX13" fmla="*/ 1760220 w 4497816"/>
              <a:gd name="connsiteY13" fmla="*/ 2011680 h 5135355"/>
              <a:gd name="connsiteX14" fmla="*/ 1706880 w 4497816"/>
              <a:gd name="connsiteY14" fmla="*/ 2103120 h 5135355"/>
              <a:gd name="connsiteX15" fmla="*/ 1607820 w 4497816"/>
              <a:gd name="connsiteY15" fmla="*/ 2164080 h 5135355"/>
              <a:gd name="connsiteX16" fmla="*/ 1546860 w 4497816"/>
              <a:gd name="connsiteY16" fmla="*/ 2293620 h 5135355"/>
              <a:gd name="connsiteX17" fmla="*/ 1577340 w 4497816"/>
              <a:gd name="connsiteY17" fmla="*/ 3360420 h 5135355"/>
              <a:gd name="connsiteX18" fmla="*/ 1607820 w 4497816"/>
              <a:gd name="connsiteY18" fmla="*/ 3497580 h 5135355"/>
              <a:gd name="connsiteX19" fmla="*/ 1714500 w 4497816"/>
              <a:gd name="connsiteY19" fmla="*/ 3703320 h 5135355"/>
              <a:gd name="connsiteX20" fmla="*/ 1912620 w 4497816"/>
              <a:gd name="connsiteY20" fmla="*/ 3901440 h 5135355"/>
              <a:gd name="connsiteX21" fmla="*/ 2004060 w 4497816"/>
              <a:gd name="connsiteY21" fmla="*/ 4046220 h 5135355"/>
              <a:gd name="connsiteX22" fmla="*/ 2019300 w 4497816"/>
              <a:gd name="connsiteY22" fmla="*/ 4221480 h 5135355"/>
              <a:gd name="connsiteX23" fmla="*/ 1821180 w 4497816"/>
              <a:gd name="connsiteY23" fmla="*/ 4693920 h 5135355"/>
              <a:gd name="connsiteX24" fmla="*/ 1645920 w 4497816"/>
              <a:gd name="connsiteY24" fmla="*/ 4853940 h 5135355"/>
              <a:gd name="connsiteX25" fmla="*/ 1165860 w 4497816"/>
              <a:gd name="connsiteY25" fmla="*/ 5090160 h 5135355"/>
              <a:gd name="connsiteX26" fmla="*/ 990600 w 4497816"/>
              <a:gd name="connsiteY26" fmla="*/ 5097780 h 5135355"/>
              <a:gd name="connsiteX27" fmla="*/ 281940 w 4497816"/>
              <a:gd name="connsiteY27" fmla="*/ 4693920 h 5135355"/>
              <a:gd name="connsiteX28" fmla="*/ 0 w 4497816"/>
              <a:gd name="connsiteY28" fmla="*/ 4145280 h 5135355"/>
              <a:gd name="connsiteX29" fmla="*/ 0 w 4497816"/>
              <a:gd name="connsiteY29" fmla="*/ 4145280 h 5135355"/>
              <a:gd name="connsiteX30" fmla="*/ 0 w 4497816"/>
              <a:gd name="connsiteY30" fmla="*/ 4145280 h 513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4497816" h="5135355">
                <a:moveTo>
                  <a:pt x="4335780" y="0"/>
                </a:moveTo>
                <a:cubicBezTo>
                  <a:pt x="4323080" y="162560"/>
                  <a:pt x="4310380" y="325120"/>
                  <a:pt x="4335780" y="525780"/>
                </a:cubicBezTo>
                <a:cubicBezTo>
                  <a:pt x="4361180" y="726440"/>
                  <a:pt x="4466590" y="1070610"/>
                  <a:pt x="4488180" y="1203960"/>
                </a:cubicBezTo>
                <a:cubicBezTo>
                  <a:pt x="4509770" y="1337310"/>
                  <a:pt x="4491990" y="1276350"/>
                  <a:pt x="4465320" y="1325880"/>
                </a:cubicBezTo>
                <a:cubicBezTo>
                  <a:pt x="4438650" y="1375410"/>
                  <a:pt x="4368800" y="1463040"/>
                  <a:pt x="4328160" y="1501140"/>
                </a:cubicBezTo>
                <a:cubicBezTo>
                  <a:pt x="4287520" y="1539240"/>
                  <a:pt x="4309110" y="1545590"/>
                  <a:pt x="4221480" y="1554480"/>
                </a:cubicBezTo>
                <a:cubicBezTo>
                  <a:pt x="4133850" y="1563370"/>
                  <a:pt x="4023360" y="1487170"/>
                  <a:pt x="3802380" y="1554480"/>
                </a:cubicBezTo>
                <a:cubicBezTo>
                  <a:pt x="3581400" y="1621790"/>
                  <a:pt x="3077210" y="1891030"/>
                  <a:pt x="2895600" y="1958340"/>
                </a:cubicBezTo>
                <a:cubicBezTo>
                  <a:pt x="2713990" y="2025650"/>
                  <a:pt x="2787650" y="1977390"/>
                  <a:pt x="2712720" y="1958340"/>
                </a:cubicBezTo>
                <a:cubicBezTo>
                  <a:pt x="2637790" y="1939290"/>
                  <a:pt x="2566670" y="1865630"/>
                  <a:pt x="2446020" y="1844040"/>
                </a:cubicBezTo>
                <a:cubicBezTo>
                  <a:pt x="2325370" y="1822450"/>
                  <a:pt x="2084070" y="1826260"/>
                  <a:pt x="1988820" y="1828800"/>
                </a:cubicBezTo>
                <a:cubicBezTo>
                  <a:pt x="1893570" y="1831340"/>
                  <a:pt x="1910080" y="1841500"/>
                  <a:pt x="1874520" y="1859280"/>
                </a:cubicBezTo>
                <a:cubicBezTo>
                  <a:pt x="1838960" y="1877060"/>
                  <a:pt x="1794510" y="1910080"/>
                  <a:pt x="1775460" y="1935480"/>
                </a:cubicBezTo>
                <a:cubicBezTo>
                  <a:pt x="1756410" y="1960880"/>
                  <a:pt x="1771650" y="1983740"/>
                  <a:pt x="1760220" y="2011680"/>
                </a:cubicBezTo>
                <a:cubicBezTo>
                  <a:pt x="1748790" y="2039620"/>
                  <a:pt x="1732280" y="2077720"/>
                  <a:pt x="1706880" y="2103120"/>
                </a:cubicBezTo>
                <a:cubicBezTo>
                  <a:pt x="1681480" y="2128520"/>
                  <a:pt x="1634490" y="2132330"/>
                  <a:pt x="1607820" y="2164080"/>
                </a:cubicBezTo>
                <a:cubicBezTo>
                  <a:pt x="1581150" y="2195830"/>
                  <a:pt x="1551940" y="2094230"/>
                  <a:pt x="1546860" y="2293620"/>
                </a:cubicBezTo>
                <a:cubicBezTo>
                  <a:pt x="1541780" y="2493010"/>
                  <a:pt x="1567180" y="3159760"/>
                  <a:pt x="1577340" y="3360420"/>
                </a:cubicBezTo>
                <a:cubicBezTo>
                  <a:pt x="1587500" y="3561080"/>
                  <a:pt x="1584960" y="3440430"/>
                  <a:pt x="1607820" y="3497580"/>
                </a:cubicBezTo>
                <a:cubicBezTo>
                  <a:pt x="1630680" y="3554730"/>
                  <a:pt x="1663700" y="3636010"/>
                  <a:pt x="1714500" y="3703320"/>
                </a:cubicBezTo>
                <a:cubicBezTo>
                  <a:pt x="1765300" y="3770630"/>
                  <a:pt x="1864360" y="3844290"/>
                  <a:pt x="1912620" y="3901440"/>
                </a:cubicBezTo>
                <a:cubicBezTo>
                  <a:pt x="1960880" y="3958590"/>
                  <a:pt x="1986280" y="3992880"/>
                  <a:pt x="2004060" y="4046220"/>
                </a:cubicBezTo>
                <a:cubicBezTo>
                  <a:pt x="2021840" y="4099560"/>
                  <a:pt x="2049780" y="4113530"/>
                  <a:pt x="2019300" y="4221480"/>
                </a:cubicBezTo>
                <a:cubicBezTo>
                  <a:pt x="1988820" y="4329430"/>
                  <a:pt x="1883410" y="4588510"/>
                  <a:pt x="1821180" y="4693920"/>
                </a:cubicBezTo>
                <a:cubicBezTo>
                  <a:pt x="1758950" y="4799330"/>
                  <a:pt x="1755140" y="4787900"/>
                  <a:pt x="1645920" y="4853940"/>
                </a:cubicBezTo>
                <a:cubicBezTo>
                  <a:pt x="1536700" y="4919980"/>
                  <a:pt x="1275080" y="5049520"/>
                  <a:pt x="1165860" y="5090160"/>
                </a:cubicBezTo>
                <a:cubicBezTo>
                  <a:pt x="1056640" y="5130800"/>
                  <a:pt x="1137920" y="5163820"/>
                  <a:pt x="990600" y="5097780"/>
                </a:cubicBezTo>
                <a:cubicBezTo>
                  <a:pt x="843280" y="5031740"/>
                  <a:pt x="447040" y="4852670"/>
                  <a:pt x="281940" y="4693920"/>
                </a:cubicBezTo>
                <a:cubicBezTo>
                  <a:pt x="116840" y="4535170"/>
                  <a:pt x="0" y="4145280"/>
                  <a:pt x="0" y="4145280"/>
                </a:cubicBezTo>
                <a:lnTo>
                  <a:pt x="0" y="4145280"/>
                </a:lnTo>
                <a:lnTo>
                  <a:pt x="0" y="4145280"/>
                </a:lnTo>
              </a:path>
            </a:pathLst>
          </a:custGeom>
          <a:noFill/>
          <a:ln w="85725">
            <a:solidFill>
              <a:srgbClr val="0000FF">
                <a:alpha val="56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 rot="21412714">
            <a:off x="3425075" y="4488761"/>
            <a:ext cx="374752" cy="252607"/>
          </a:xfrm>
          <a:prstGeom prst="rect">
            <a:avLst/>
          </a:prstGeom>
          <a:solidFill>
            <a:srgbClr val="0000FF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 rot="21412714">
            <a:off x="3100555" y="4906470"/>
            <a:ext cx="136799" cy="195180"/>
          </a:xfrm>
          <a:prstGeom prst="rect">
            <a:avLst/>
          </a:prstGeom>
          <a:solidFill>
            <a:srgbClr val="0000FF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олилиния 42"/>
          <p:cNvSpPr/>
          <p:nvPr/>
        </p:nvSpPr>
        <p:spPr>
          <a:xfrm>
            <a:off x="2300288" y="4810125"/>
            <a:ext cx="447675" cy="519113"/>
          </a:xfrm>
          <a:custGeom>
            <a:avLst/>
            <a:gdLst>
              <a:gd name="connsiteX0" fmla="*/ 195262 w 447675"/>
              <a:gd name="connsiteY0" fmla="*/ 19050 h 519113"/>
              <a:gd name="connsiteX1" fmla="*/ 404812 w 447675"/>
              <a:gd name="connsiteY1" fmla="*/ 0 h 519113"/>
              <a:gd name="connsiteX2" fmla="*/ 447675 w 447675"/>
              <a:gd name="connsiteY2" fmla="*/ 485775 h 519113"/>
              <a:gd name="connsiteX3" fmla="*/ 42862 w 447675"/>
              <a:gd name="connsiteY3" fmla="*/ 519113 h 519113"/>
              <a:gd name="connsiteX4" fmla="*/ 0 w 447675"/>
              <a:gd name="connsiteY4" fmla="*/ 476250 h 519113"/>
              <a:gd name="connsiteX5" fmla="*/ 4762 w 447675"/>
              <a:gd name="connsiteY5" fmla="*/ 376238 h 519113"/>
              <a:gd name="connsiteX6" fmla="*/ 195262 w 447675"/>
              <a:gd name="connsiteY6" fmla="*/ 19050 h 51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7675" h="519113">
                <a:moveTo>
                  <a:pt x="195262" y="19050"/>
                </a:moveTo>
                <a:lnTo>
                  <a:pt x="404812" y="0"/>
                </a:lnTo>
                <a:lnTo>
                  <a:pt x="447675" y="485775"/>
                </a:lnTo>
                <a:lnTo>
                  <a:pt x="42862" y="519113"/>
                </a:lnTo>
                <a:lnTo>
                  <a:pt x="0" y="476250"/>
                </a:lnTo>
                <a:lnTo>
                  <a:pt x="4762" y="376238"/>
                </a:lnTo>
                <a:lnTo>
                  <a:pt x="195262" y="19050"/>
                </a:lnTo>
                <a:close/>
              </a:path>
            </a:pathLst>
          </a:custGeom>
          <a:solidFill>
            <a:srgbClr val="FF0000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 rot="21412714">
            <a:off x="2372014" y="5348799"/>
            <a:ext cx="277898" cy="615950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 rot="21412714">
            <a:off x="2895702" y="5322531"/>
            <a:ext cx="151298" cy="615950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 rot="21412714">
            <a:off x="4040308" y="4649200"/>
            <a:ext cx="266418" cy="205771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олилиния 48"/>
          <p:cNvSpPr/>
          <p:nvPr/>
        </p:nvSpPr>
        <p:spPr>
          <a:xfrm>
            <a:off x="2127250" y="4044950"/>
            <a:ext cx="1092200" cy="793750"/>
          </a:xfrm>
          <a:custGeom>
            <a:avLst/>
            <a:gdLst>
              <a:gd name="connsiteX0" fmla="*/ 0 w 1092200"/>
              <a:gd name="connsiteY0" fmla="*/ 152400 h 793750"/>
              <a:gd name="connsiteX1" fmla="*/ 133350 w 1092200"/>
              <a:gd name="connsiteY1" fmla="*/ 0 h 793750"/>
              <a:gd name="connsiteX2" fmla="*/ 546100 w 1092200"/>
              <a:gd name="connsiteY2" fmla="*/ 317500 h 793750"/>
              <a:gd name="connsiteX3" fmla="*/ 787400 w 1092200"/>
              <a:gd name="connsiteY3" fmla="*/ 101600 h 793750"/>
              <a:gd name="connsiteX4" fmla="*/ 882650 w 1092200"/>
              <a:gd name="connsiteY4" fmla="*/ 88900 h 793750"/>
              <a:gd name="connsiteX5" fmla="*/ 1066800 w 1092200"/>
              <a:gd name="connsiteY5" fmla="*/ 25400 h 793750"/>
              <a:gd name="connsiteX6" fmla="*/ 1092200 w 1092200"/>
              <a:gd name="connsiteY6" fmla="*/ 393700 h 793750"/>
              <a:gd name="connsiteX7" fmla="*/ 1009650 w 1092200"/>
              <a:gd name="connsiteY7" fmla="*/ 425450 h 793750"/>
              <a:gd name="connsiteX8" fmla="*/ 927100 w 1092200"/>
              <a:gd name="connsiteY8" fmla="*/ 488950 h 793750"/>
              <a:gd name="connsiteX9" fmla="*/ 876300 w 1092200"/>
              <a:gd name="connsiteY9" fmla="*/ 552450 h 793750"/>
              <a:gd name="connsiteX10" fmla="*/ 869950 w 1092200"/>
              <a:gd name="connsiteY10" fmla="*/ 622300 h 793750"/>
              <a:gd name="connsiteX11" fmla="*/ 831850 w 1092200"/>
              <a:gd name="connsiteY11" fmla="*/ 673100 h 793750"/>
              <a:gd name="connsiteX12" fmla="*/ 749300 w 1092200"/>
              <a:gd name="connsiteY12" fmla="*/ 711200 h 793750"/>
              <a:gd name="connsiteX13" fmla="*/ 685800 w 1092200"/>
              <a:gd name="connsiteY13" fmla="*/ 730250 h 793750"/>
              <a:gd name="connsiteX14" fmla="*/ 654050 w 1092200"/>
              <a:gd name="connsiteY14" fmla="*/ 793750 h 793750"/>
              <a:gd name="connsiteX15" fmla="*/ 558800 w 1092200"/>
              <a:gd name="connsiteY15" fmla="*/ 723900 h 793750"/>
              <a:gd name="connsiteX16" fmla="*/ 469900 w 1092200"/>
              <a:gd name="connsiteY16" fmla="*/ 742950 h 793750"/>
              <a:gd name="connsiteX17" fmla="*/ 342900 w 1092200"/>
              <a:gd name="connsiteY17" fmla="*/ 749300 h 793750"/>
              <a:gd name="connsiteX18" fmla="*/ 355600 w 1092200"/>
              <a:gd name="connsiteY18" fmla="*/ 628650 h 793750"/>
              <a:gd name="connsiteX19" fmla="*/ 381000 w 1092200"/>
              <a:gd name="connsiteY19" fmla="*/ 514350 h 793750"/>
              <a:gd name="connsiteX20" fmla="*/ 431800 w 1092200"/>
              <a:gd name="connsiteY20" fmla="*/ 469900 h 793750"/>
              <a:gd name="connsiteX21" fmla="*/ 0 w 1092200"/>
              <a:gd name="connsiteY21" fmla="*/ 152400 h 79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92200" h="793750">
                <a:moveTo>
                  <a:pt x="0" y="152400"/>
                </a:moveTo>
                <a:lnTo>
                  <a:pt x="133350" y="0"/>
                </a:lnTo>
                <a:lnTo>
                  <a:pt x="546100" y="317500"/>
                </a:lnTo>
                <a:lnTo>
                  <a:pt x="787400" y="101600"/>
                </a:lnTo>
                <a:lnTo>
                  <a:pt x="882650" y="88900"/>
                </a:lnTo>
                <a:lnTo>
                  <a:pt x="1066800" y="25400"/>
                </a:lnTo>
                <a:lnTo>
                  <a:pt x="1092200" y="393700"/>
                </a:lnTo>
                <a:lnTo>
                  <a:pt x="1009650" y="425450"/>
                </a:lnTo>
                <a:lnTo>
                  <a:pt x="927100" y="488950"/>
                </a:lnTo>
                <a:lnTo>
                  <a:pt x="876300" y="552450"/>
                </a:lnTo>
                <a:lnTo>
                  <a:pt x="869950" y="622300"/>
                </a:lnTo>
                <a:lnTo>
                  <a:pt x="831850" y="673100"/>
                </a:lnTo>
                <a:lnTo>
                  <a:pt x="749300" y="711200"/>
                </a:lnTo>
                <a:lnTo>
                  <a:pt x="685800" y="730250"/>
                </a:lnTo>
                <a:lnTo>
                  <a:pt x="654050" y="793750"/>
                </a:lnTo>
                <a:lnTo>
                  <a:pt x="558800" y="723900"/>
                </a:lnTo>
                <a:lnTo>
                  <a:pt x="469900" y="742950"/>
                </a:lnTo>
                <a:lnTo>
                  <a:pt x="342900" y="749300"/>
                </a:lnTo>
                <a:lnTo>
                  <a:pt x="355600" y="628650"/>
                </a:lnTo>
                <a:lnTo>
                  <a:pt x="381000" y="514350"/>
                </a:lnTo>
                <a:lnTo>
                  <a:pt x="431800" y="469900"/>
                </a:lnTo>
                <a:lnTo>
                  <a:pt x="0" y="152400"/>
                </a:lnTo>
                <a:close/>
              </a:path>
            </a:pathLst>
          </a:custGeom>
          <a:solidFill>
            <a:srgbClr val="FF0000">
              <a:alpha val="4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 rot="1338664">
            <a:off x="2880757" y="6908671"/>
            <a:ext cx="281275" cy="382597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 rot="1476947">
            <a:off x="3226932" y="6970549"/>
            <a:ext cx="193284" cy="382597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 rot="21412714">
            <a:off x="2888361" y="4898430"/>
            <a:ext cx="211018" cy="356827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/>
          <p:cNvSpPr/>
          <p:nvPr/>
        </p:nvSpPr>
        <p:spPr>
          <a:xfrm rot="21412714">
            <a:off x="3068139" y="5125563"/>
            <a:ext cx="211018" cy="169627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 rot="21412714">
            <a:off x="3103565" y="4554891"/>
            <a:ext cx="112249" cy="194282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олилиния 58"/>
          <p:cNvSpPr/>
          <p:nvPr/>
        </p:nvSpPr>
        <p:spPr>
          <a:xfrm>
            <a:off x="1371600" y="6841026"/>
            <a:ext cx="1209675" cy="931374"/>
          </a:xfrm>
          <a:custGeom>
            <a:avLst/>
            <a:gdLst>
              <a:gd name="connsiteX0" fmla="*/ 0 w 1187450"/>
              <a:gd name="connsiteY0" fmla="*/ 117475 h 857250"/>
              <a:gd name="connsiteX1" fmla="*/ 53975 w 1187450"/>
              <a:gd name="connsiteY1" fmla="*/ 244475 h 857250"/>
              <a:gd name="connsiteX2" fmla="*/ 107950 w 1187450"/>
              <a:gd name="connsiteY2" fmla="*/ 339725 h 857250"/>
              <a:gd name="connsiteX3" fmla="*/ 161925 w 1187450"/>
              <a:gd name="connsiteY3" fmla="*/ 409575 h 857250"/>
              <a:gd name="connsiteX4" fmla="*/ 234950 w 1187450"/>
              <a:gd name="connsiteY4" fmla="*/ 469900 h 857250"/>
              <a:gd name="connsiteX5" fmla="*/ 657225 w 1187450"/>
              <a:gd name="connsiteY5" fmla="*/ 720725 h 857250"/>
              <a:gd name="connsiteX6" fmla="*/ 962025 w 1187450"/>
              <a:gd name="connsiteY6" fmla="*/ 857250 h 857250"/>
              <a:gd name="connsiteX7" fmla="*/ 1187450 w 1187450"/>
              <a:gd name="connsiteY7" fmla="*/ 746125 h 857250"/>
              <a:gd name="connsiteX8" fmla="*/ 1101725 w 1187450"/>
              <a:gd name="connsiteY8" fmla="*/ 415925 h 857250"/>
              <a:gd name="connsiteX9" fmla="*/ 815975 w 1187450"/>
              <a:gd name="connsiteY9" fmla="*/ 250825 h 857250"/>
              <a:gd name="connsiteX10" fmla="*/ 428625 w 1187450"/>
              <a:gd name="connsiteY10" fmla="*/ 85725 h 857250"/>
              <a:gd name="connsiteX11" fmla="*/ 200025 w 1187450"/>
              <a:gd name="connsiteY11" fmla="*/ 0 h 857250"/>
              <a:gd name="connsiteX12" fmla="*/ 0 w 1187450"/>
              <a:gd name="connsiteY12" fmla="*/ 117475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7450" h="857250">
                <a:moveTo>
                  <a:pt x="0" y="117475"/>
                </a:moveTo>
                <a:lnTo>
                  <a:pt x="53975" y="244475"/>
                </a:lnTo>
                <a:lnTo>
                  <a:pt x="107950" y="339725"/>
                </a:lnTo>
                <a:lnTo>
                  <a:pt x="161925" y="409575"/>
                </a:lnTo>
                <a:lnTo>
                  <a:pt x="234950" y="469900"/>
                </a:lnTo>
                <a:lnTo>
                  <a:pt x="657225" y="720725"/>
                </a:lnTo>
                <a:lnTo>
                  <a:pt x="962025" y="857250"/>
                </a:lnTo>
                <a:lnTo>
                  <a:pt x="1187450" y="746125"/>
                </a:lnTo>
                <a:lnTo>
                  <a:pt x="1101725" y="415925"/>
                </a:lnTo>
                <a:lnTo>
                  <a:pt x="815975" y="250825"/>
                </a:lnTo>
                <a:lnTo>
                  <a:pt x="428625" y="85725"/>
                </a:lnTo>
                <a:lnTo>
                  <a:pt x="200025" y="0"/>
                </a:lnTo>
                <a:lnTo>
                  <a:pt x="0" y="117475"/>
                </a:lnTo>
                <a:close/>
              </a:path>
            </a:pathLst>
          </a:cu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олилиния 59"/>
          <p:cNvSpPr/>
          <p:nvPr/>
        </p:nvSpPr>
        <p:spPr>
          <a:xfrm>
            <a:off x="876300" y="6426200"/>
            <a:ext cx="1755775" cy="1857375"/>
          </a:xfrm>
          <a:custGeom>
            <a:avLst/>
            <a:gdLst>
              <a:gd name="connsiteX0" fmla="*/ 457200 w 1755775"/>
              <a:gd name="connsiteY0" fmla="*/ 615950 h 1857375"/>
              <a:gd name="connsiteX1" fmla="*/ 361950 w 1755775"/>
              <a:gd name="connsiteY1" fmla="*/ 368300 h 1857375"/>
              <a:gd name="connsiteX2" fmla="*/ 358775 w 1755775"/>
              <a:gd name="connsiteY2" fmla="*/ 298450 h 1857375"/>
              <a:gd name="connsiteX3" fmla="*/ 342900 w 1755775"/>
              <a:gd name="connsiteY3" fmla="*/ 231775 h 1857375"/>
              <a:gd name="connsiteX4" fmla="*/ 273050 w 1755775"/>
              <a:gd name="connsiteY4" fmla="*/ 190500 h 1857375"/>
              <a:gd name="connsiteX5" fmla="*/ 355600 w 1755775"/>
              <a:gd name="connsiteY5" fmla="*/ 38100 h 1857375"/>
              <a:gd name="connsiteX6" fmla="*/ 276225 w 1755775"/>
              <a:gd name="connsiteY6" fmla="*/ 0 h 1857375"/>
              <a:gd name="connsiteX7" fmla="*/ 0 w 1755775"/>
              <a:gd name="connsiteY7" fmla="*/ 501650 h 1857375"/>
              <a:gd name="connsiteX8" fmla="*/ 377825 w 1755775"/>
              <a:gd name="connsiteY8" fmla="*/ 704850 h 1857375"/>
              <a:gd name="connsiteX9" fmla="*/ 431800 w 1755775"/>
              <a:gd name="connsiteY9" fmla="*/ 765175 h 1857375"/>
              <a:gd name="connsiteX10" fmla="*/ 476250 w 1755775"/>
              <a:gd name="connsiteY10" fmla="*/ 844550 h 1857375"/>
              <a:gd name="connsiteX11" fmla="*/ 514350 w 1755775"/>
              <a:gd name="connsiteY11" fmla="*/ 1038225 h 1857375"/>
              <a:gd name="connsiteX12" fmla="*/ 584200 w 1755775"/>
              <a:gd name="connsiteY12" fmla="*/ 1082675 h 1857375"/>
              <a:gd name="connsiteX13" fmla="*/ 542925 w 1755775"/>
              <a:gd name="connsiteY13" fmla="*/ 1155700 h 1857375"/>
              <a:gd name="connsiteX14" fmla="*/ 641350 w 1755775"/>
              <a:gd name="connsiteY14" fmla="*/ 1212850 h 1857375"/>
              <a:gd name="connsiteX15" fmla="*/ 622300 w 1755775"/>
              <a:gd name="connsiteY15" fmla="*/ 1279525 h 1857375"/>
              <a:gd name="connsiteX16" fmla="*/ 981075 w 1755775"/>
              <a:gd name="connsiteY16" fmla="*/ 1489075 h 1857375"/>
              <a:gd name="connsiteX17" fmla="*/ 1019175 w 1755775"/>
              <a:gd name="connsiteY17" fmla="*/ 1562100 h 1857375"/>
              <a:gd name="connsiteX18" fmla="*/ 1082675 w 1755775"/>
              <a:gd name="connsiteY18" fmla="*/ 1606550 h 1857375"/>
              <a:gd name="connsiteX19" fmla="*/ 1057275 w 1755775"/>
              <a:gd name="connsiteY19" fmla="*/ 1660525 h 1857375"/>
              <a:gd name="connsiteX20" fmla="*/ 1143000 w 1755775"/>
              <a:gd name="connsiteY20" fmla="*/ 1758950 h 1857375"/>
              <a:gd name="connsiteX21" fmla="*/ 1387475 w 1755775"/>
              <a:gd name="connsiteY21" fmla="*/ 1857375 h 1857375"/>
              <a:gd name="connsiteX22" fmla="*/ 1622425 w 1755775"/>
              <a:gd name="connsiteY22" fmla="*/ 1844675 h 1857375"/>
              <a:gd name="connsiteX23" fmla="*/ 1755775 w 1755775"/>
              <a:gd name="connsiteY23" fmla="*/ 1739900 h 1857375"/>
              <a:gd name="connsiteX24" fmla="*/ 1736725 w 1755775"/>
              <a:gd name="connsiteY24" fmla="*/ 1285875 h 1857375"/>
              <a:gd name="connsiteX25" fmla="*/ 1508125 w 1755775"/>
              <a:gd name="connsiteY25" fmla="*/ 1403350 h 1857375"/>
              <a:gd name="connsiteX26" fmla="*/ 1422400 w 1755775"/>
              <a:gd name="connsiteY26" fmla="*/ 1377950 h 1857375"/>
              <a:gd name="connsiteX27" fmla="*/ 657225 w 1755775"/>
              <a:gd name="connsiteY27" fmla="*/ 968375 h 1857375"/>
              <a:gd name="connsiteX28" fmla="*/ 396875 w 1755775"/>
              <a:gd name="connsiteY28" fmla="*/ 469900 h 1857375"/>
              <a:gd name="connsiteX29" fmla="*/ 393700 w 1755775"/>
              <a:gd name="connsiteY29" fmla="*/ 469900 h 1857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755775" h="1857375">
                <a:moveTo>
                  <a:pt x="457200" y="615950"/>
                </a:moveTo>
                <a:lnTo>
                  <a:pt x="361950" y="368300"/>
                </a:lnTo>
                <a:lnTo>
                  <a:pt x="358775" y="298450"/>
                </a:lnTo>
                <a:lnTo>
                  <a:pt x="342900" y="231775"/>
                </a:lnTo>
                <a:lnTo>
                  <a:pt x="273050" y="190500"/>
                </a:lnTo>
                <a:lnTo>
                  <a:pt x="355600" y="38100"/>
                </a:lnTo>
                <a:lnTo>
                  <a:pt x="276225" y="0"/>
                </a:lnTo>
                <a:lnTo>
                  <a:pt x="0" y="501650"/>
                </a:lnTo>
                <a:lnTo>
                  <a:pt x="377825" y="704850"/>
                </a:lnTo>
                <a:lnTo>
                  <a:pt x="431800" y="765175"/>
                </a:lnTo>
                <a:lnTo>
                  <a:pt x="476250" y="844550"/>
                </a:lnTo>
                <a:lnTo>
                  <a:pt x="514350" y="1038225"/>
                </a:lnTo>
                <a:lnTo>
                  <a:pt x="584200" y="1082675"/>
                </a:lnTo>
                <a:lnTo>
                  <a:pt x="542925" y="1155700"/>
                </a:lnTo>
                <a:lnTo>
                  <a:pt x="641350" y="1212850"/>
                </a:lnTo>
                <a:lnTo>
                  <a:pt x="622300" y="1279525"/>
                </a:lnTo>
                <a:lnTo>
                  <a:pt x="981075" y="1489075"/>
                </a:lnTo>
                <a:lnTo>
                  <a:pt x="1019175" y="1562100"/>
                </a:lnTo>
                <a:lnTo>
                  <a:pt x="1082675" y="1606550"/>
                </a:lnTo>
                <a:lnTo>
                  <a:pt x="1057275" y="1660525"/>
                </a:lnTo>
                <a:lnTo>
                  <a:pt x="1143000" y="1758950"/>
                </a:lnTo>
                <a:lnTo>
                  <a:pt x="1387475" y="1857375"/>
                </a:lnTo>
                <a:lnTo>
                  <a:pt x="1622425" y="1844675"/>
                </a:lnTo>
                <a:lnTo>
                  <a:pt x="1755775" y="1739900"/>
                </a:lnTo>
                <a:lnTo>
                  <a:pt x="1736725" y="1285875"/>
                </a:lnTo>
                <a:lnTo>
                  <a:pt x="1508125" y="1403350"/>
                </a:lnTo>
                <a:lnTo>
                  <a:pt x="1422400" y="1377950"/>
                </a:lnTo>
                <a:lnTo>
                  <a:pt x="657225" y="968375"/>
                </a:lnTo>
                <a:lnTo>
                  <a:pt x="396875" y="469900"/>
                </a:lnTo>
                <a:lnTo>
                  <a:pt x="393700" y="469900"/>
                </a:lnTo>
              </a:path>
            </a:pathLst>
          </a:custGeom>
          <a:solidFill>
            <a:srgbClr val="FF0000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ик 61"/>
          <p:cNvSpPr/>
          <p:nvPr/>
        </p:nvSpPr>
        <p:spPr>
          <a:xfrm rot="1840265">
            <a:off x="993671" y="7489351"/>
            <a:ext cx="330557" cy="322616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 rot="1840265">
            <a:off x="1243175" y="7774236"/>
            <a:ext cx="420837" cy="217712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 rot="1840265">
            <a:off x="1338135" y="6084795"/>
            <a:ext cx="167840" cy="520644"/>
          </a:xfrm>
          <a:prstGeom prst="rect">
            <a:avLst/>
          </a:pr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олилиния 60"/>
          <p:cNvSpPr/>
          <p:nvPr/>
        </p:nvSpPr>
        <p:spPr>
          <a:xfrm>
            <a:off x="4862513" y="2781300"/>
            <a:ext cx="873918" cy="1416844"/>
          </a:xfrm>
          <a:custGeom>
            <a:avLst/>
            <a:gdLst>
              <a:gd name="connsiteX0" fmla="*/ 42862 w 873918"/>
              <a:gd name="connsiteY0" fmla="*/ 1152525 h 1416844"/>
              <a:gd name="connsiteX1" fmla="*/ 100012 w 873918"/>
              <a:gd name="connsiteY1" fmla="*/ 1416844 h 1416844"/>
              <a:gd name="connsiteX2" fmla="*/ 207168 w 873918"/>
              <a:gd name="connsiteY2" fmla="*/ 1381125 h 1416844"/>
              <a:gd name="connsiteX3" fmla="*/ 307181 w 873918"/>
              <a:gd name="connsiteY3" fmla="*/ 1357313 h 1416844"/>
              <a:gd name="connsiteX4" fmla="*/ 423862 w 873918"/>
              <a:gd name="connsiteY4" fmla="*/ 1347788 h 1416844"/>
              <a:gd name="connsiteX5" fmla="*/ 521493 w 873918"/>
              <a:gd name="connsiteY5" fmla="*/ 1357313 h 1416844"/>
              <a:gd name="connsiteX6" fmla="*/ 621506 w 873918"/>
              <a:gd name="connsiteY6" fmla="*/ 1378744 h 1416844"/>
              <a:gd name="connsiteX7" fmla="*/ 678656 w 873918"/>
              <a:gd name="connsiteY7" fmla="*/ 1369219 h 1416844"/>
              <a:gd name="connsiteX8" fmla="*/ 700087 w 873918"/>
              <a:gd name="connsiteY8" fmla="*/ 1357313 h 1416844"/>
              <a:gd name="connsiteX9" fmla="*/ 754856 w 873918"/>
              <a:gd name="connsiteY9" fmla="*/ 1297781 h 1416844"/>
              <a:gd name="connsiteX10" fmla="*/ 842962 w 873918"/>
              <a:gd name="connsiteY10" fmla="*/ 1190625 h 1416844"/>
              <a:gd name="connsiteX11" fmla="*/ 873918 w 873918"/>
              <a:gd name="connsiteY11" fmla="*/ 1128713 h 1416844"/>
              <a:gd name="connsiteX12" fmla="*/ 862012 w 873918"/>
              <a:gd name="connsiteY12" fmla="*/ 1031081 h 1416844"/>
              <a:gd name="connsiteX13" fmla="*/ 766762 w 873918"/>
              <a:gd name="connsiteY13" fmla="*/ 597694 h 1416844"/>
              <a:gd name="connsiteX14" fmla="*/ 723900 w 873918"/>
              <a:gd name="connsiteY14" fmla="*/ 381000 h 1416844"/>
              <a:gd name="connsiteX15" fmla="*/ 704850 w 873918"/>
              <a:gd name="connsiteY15" fmla="*/ 133350 h 1416844"/>
              <a:gd name="connsiteX16" fmla="*/ 702468 w 873918"/>
              <a:gd name="connsiteY16" fmla="*/ 38100 h 1416844"/>
              <a:gd name="connsiteX17" fmla="*/ 583406 w 873918"/>
              <a:gd name="connsiteY17" fmla="*/ 26194 h 1416844"/>
              <a:gd name="connsiteX18" fmla="*/ 592931 w 873918"/>
              <a:gd name="connsiteY18" fmla="*/ 104775 h 1416844"/>
              <a:gd name="connsiteX19" fmla="*/ 531018 w 873918"/>
              <a:gd name="connsiteY19" fmla="*/ 111919 h 1416844"/>
              <a:gd name="connsiteX20" fmla="*/ 528637 w 873918"/>
              <a:gd name="connsiteY20" fmla="*/ 11906 h 1416844"/>
              <a:gd name="connsiteX21" fmla="*/ 378618 w 873918"/>
              <a:gd name="connsiteY21" fmla="*/ 0 h 1416844"/>
              <a:gd name="connsiteX22" fmla="*/ 459581 w 873918"/>
              <a:gd name="connsiteY22" fmla="*/ 321469 h 1416844"/>
              <a:gd name="connsiteX23" fmla="*/ 540543 w 873918"/>
              <a:gd name="connsiteY23" fmla="*/ 292894 h 1416844"/>
              <a:gd name="connsiteX24" fmla="*/ 628650 w 873918"/>
              <a:gd name="connsiteY24" fmla="*/ 278606 h 1416844"/>
              <a:gd name="connsiteX25" fmla="*/ 678656 w 873918"/>
              <a:gd name="connsiteY25" fmla="*/ 304800 h 1416844"/>
              <a:gd name="connsiteX26" fmla="*/ 711993 w 873918"/>
              <a:gd name="connsiteY26" fmla="*/ 357188 h 1416844"/>
              <a:gd name="connsiteX27" fmla="*/ 723900 w 873918"/>
              <a:gd name="connsiteY27" fmla="*/ 419100 h 1416844"/>
              <a:gd name="connsiteX28" fmla="*/ 719137 w 873918"/>
              <a:gd name="connsiteY28" fmla="*/ 485775 h 1416844"/>
              <a:gd name="connsiteX29" fmla="*/ 697706 w 873918"/>
              <a:gd name="connsiteY29" fmla="*/ 528638 h 1416844"/>
              <a:gd name="connsiteX30" fmla="*/ 602456 w 873918"/>
              <a:gd name="connsiteY30" fmla="*/ 566738 h 1416844"/>
              <a:gd name="connsiteX31" fmla="*/ 559593 w 873918"/>
              <a:gd name="connsiteY31" fmla="*/ 573881 h 1416844"/>
              <a:gd name="connsiteX32" fmla="*/ 547687 w 873918"/>
              <a:gd name="connsiteY32" fmla="*/ 573881 h 1416844"/>
              <a:gd name="connsiteX33" fmla="*/ 561975 w 873918"/>
              <a:gd name="connsiteY33" fmla="*/ 604838 h 1416844"/>
              <a:gd name="connsiteX34" fmla="*/ 464343 w 873918"/>
              <a:gd name="connsiteY34" fmla="*/ 650081 h 1416844"/>
              <a:gd name="connsiteX35" fmla="*/ 450056 w 873918"/>
              <a:gd name="connsiteY35" fmla="*/ 621506 h 1416844"/>
              <a:gd name="connsiteX36" fmla="*/ 466725 w 873918"/>
              <a:gd name="connsiteY36" fmla="*/ 609600 h 1416844"/>
              <a:gd name="connsiteX37" fmla="*/ 404812 w 873918"/>
              <a:gd name="connsiteY37" fmla="*/ 535781 h 1416844"/>
              <a:gd name="connsiteX38" fmla="*/ 178593 w 873918"/>
              <a:gd name="connsiteY38" fmla="*/ 633413 h 1416844"/>
              <a:gd name="connsiteX39" fmla="*/ 190500 w 873918"/>
              <a:gd name="connsiteY39" fmla="*/ 683419 h 1416844"/>
              <a:gd name="connsiteX40" fmla="*/ 209550 w 873918"/>
              <a:gd name="connsiteY40" fmla="*/ 683419 h 1416844"/>
              <a:gd name="connsiteX41" fmla="*/ 257175 w 873918"/>
              <a:gd name="connsiteY41" fmla="*/ 866775 h 1416844"/>
              <a:gd name="connsiteX42" fmla="*/ 0 w 873918"/>
              <a:gd name="connsiteY42" fmla="*/ 931069 h 1416844"/>
              <a:gd name="connsiteX43" fmla="*/ 42862 w 873918"/>
              <a:gd name="connsiteY43" fmla="*/ 1152525 h 141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73918" h="1416844">
                <a:moveTo>
                  <a:pt x="42862" y="1152525"/>
                </a:moveTo>
                <a:lnTo>
                  <a:pt x="100012" y="1416844"/>
                </a:lnTo>
                <a:lnTo>
                  <a:pt x="207168" y="1381125"/>
                </a:lnTo>
                <a:lnTo>
                  <a:pt x="307181" y="1357313"/>
                </a:lnTo>
                <a:lnTo>
                  <a:pt x="423862" y="1347788"/>
                </a:lnTo>
                <a:lnTo>
                  <a:pt x="521493" y="1357313"/>
                </a:lnTo>
                <a:lnTo>
                  <a:pt x="621506" y="1378744"/>
                </a:lnTo>
                <a:lnTo>
                  <a:pt x="678656" y="1369219"/>
                </a:lnTo>
                <a:lnTo>
                  <a:pt x="700087" y="1357313"/>
                </a:lnTo>
                <a:lnTo>
                  <a:pt x="754856" y="1297781"/>
                </a:lnTo>
                <a:lnTo>
                  <a:pt x="842962" y="1190625"/>
                </a:lnTo>
                <a:lnTo>
                  <a:pt x="873918" y="1128713"/>
                </a:lnTo>
                <a:lnTo>
                  <a:pt x="862012" y="1031081"/>
                </a:lnTo>
                <a:lnTo>
                  <a:pt x="766762" y="597694"/>
                </a:lnTo>
                <a:lnTo>
                  <a:pt x="723900" y="381000"/>
                </a:lnTo>
                <a:lnTo>
                  <a:pt x="704850" y="133350"/>
                </a:lnTo>
                <a:lnTo>
                  <a:pt x="702468" y="38100"/>
                </a:lnTo>
                <a:lnTo>
                  <a:pt x="583406" y="26194"/>
                </a:lnTo>
                <a:lnTo>
                  <a:pt x="592931" y="104775"/>
                </a:lnTo>
                <a:lnTo>
                  <a:pt x="531018" y="111919"/>
                </a:lnTo>
                <a:cubicBezTo>
                  <a:pt x="530224" y="78581"/>
                  <a:pt x="529431" y="45244"/>
                  <a:pt x="528637" y="11906"/>
                </a:cubicBezTo>
                <a:lnTo>
                  <a:pt x="378618" y="0"/>
                </a:lnTo>
                <a:lnTo>
                  <a:pt x="459581" y="321469"/>
                </a:lnTo>
                <a:lnTo>
                  <a:pt x="540543" y="292894"/>
                </a:lnTo>
                <a:lnTo>
                  <a:pt x="628650" y="278606"/>
                </a:lnTo>
                <a:lnTo>
                  <a:pt x="678656" y="304800"/>
                </a:lnTo>
                <a:lnTo>
                  <a:pt x="711993" y="357188"/>
                </a:lnTo>
                <a:lnTo>
                  <a:pt x="723900" y="419100"/>
                </a:lnTo>
                <a:lnTo>
                  <a:pt x="719137" y="485775"/>
                </a:lnTo>
                <a:lnTo>
                  <a:pt x="697706" y="528638"/>
                </a:lnTo>
                <a:lnTo>
                  <a:pt x="602456" y="566738"/>
                </a:lnTo>
                <a:lnTo>
                  <a:pt x="559593" y="573881"/>
                </a:lnTo>
                <a:lnTo>
                  <a:pt x="547687" y="573881"/>
                </a:lnTo>
                <a:lnTo>
                  <a:pt x="561975" y="604838"/>
                </a:lnTo>
                <a:lnTo>
                  <a:pt x="464343" y="650081"/>
                </a:lnTo>
                <a:lnTo>
                  <a:pt x="450056" y="621506"/>
                </a:lnTo>
                <a:lnTo>
                  <a:pt x="466725" y="609600"/>
                </a:lnTo>
                <a:lnTo>
                  <a:pt x="404812" y="535781"/>
                </a:lnTo>
                <a:lnTo>
                  <a:pt x="178593" y="633413"/>
                </a:lnTo>
                <a:lnTo>
                  <a:pt x="190500" y="683419"/>
                </a:lnTo>
                <a:lnTo>
                  <a:pt x="209550" y="683419"/>
                </a:lnTo>
                <a:lnTo>
                  <a:pt x="257175" y="866775"/>
                </a:lnTo>
                <a:lnTo>
                  <a:pt x="0" y="931069"/>
                </a:lnTo>
                <a:lnTo>
                  <a:pt x="42862" y="1152525"/>
                </a:lnTo>
                <a:close/>
              </a:path>
            </a:pathLst>
          </a:custGeom>
          <a:solidFill>
            <a:srgbClr val="FF000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952" name="Полилиния 125951"/>
          <p:cNvSpPr/>
          <p:nvPr/>
        </p:nvSpPr>
        <p:spPr>
          <a:xfrm>
            <a:off x="5003800" y="2425700"/>
            <a:ext cx="1079500" cy="2533650"/>
          </a:xfrm>
          <a:custGeom>
            <a:avLst/>
            <a:gdLst>
              <a:gd name="connsiteX0" fmla="*/ 0 w 1079500"/>
              <a:gd name="connsiteY0" fmla="*/ 1854200 h 2533650"/>
              <a:gd name="connsiteX1" fmla="*/ 158750 w 1079500"/>
              <a:gd name="connsiteY1" fmla="*/ 1803400 h 2533650"/>
              <a:gd name="connsiteX2" fmla="*/ 241300 w 1079500"/>
              <a:gd name="connsiteY2" fmla="*/ 1790700 h 2533650"/>
              <a:gd name="connsiteX3" fmla="*/ 368300 w 1079500"/>
              <a:gd name="connsiteY3" fmla="*/ 1790700 h 2533650"/>
              <a:gd name="connsiteX4" fmla="*/ 482600 w 1079500"/>
              <a:gd name="connsiteY4" fmla="*/ 1809750 h 2533650"/>
              <a:gd name="connsiteX5" fmla="*/ 603250 w 1079500"/>
              <a:gd name="connsiteY5" fmla="*/ 1803400 h 2533650"/>
              <a:gd name="connsiteX6" fmla="*/ 641350 w 1079500"/>
              <a:gd name="connsiteY6" fmla="*/ 1758950 h 2533650"/>
              <a:gd name="connsiteX7" fmla="*/ 755650 w 1079500"/>
              <a:gd name="connsiteY7" fmla="*/ 1625600 h 2533650"/>
              <a:gd name="connsiteX8" fmla="*/ 831850 w 1079500"/>
              <a:gd name="connsiteY8" fmla="*/ 1511300 h 2533650"/>
              <a:gd name="connsiteX9" fmla="*/ 806450 w 1079500"/>
              <a:gd name="connsiteY9" fmla="*/ 1301750 h 2533650"/>
              <a:gd name="connsiteX10" fmla="*/ 717550 w 1079500"/>
              <a:gd name="connsiteY10" fmla="*/ 1028700 h 2533650"/>
              <a:gd name="connsiteX11" fmla="*/ 673100 w 1079500"/>
              <a:gd name="connsiteY11" fmla="*/ 806450 h 2533650"/>
              <a:gd name="connsiteX12" fmla="*/ 660400 w 1079500"/>
              <a:gd name="connsiteY12" fmla="*/ 615950 h 2533650"/>
              <a:gd name="connsiteX13" fmla="*/ 654050 w 1079500"/>
              <a:gd name="connsiteY13" fmla="*/ 368300 h 2533650"/>
              <a:gd name="connsiteX14" fmla="*/ 666750 w 1079500"/>
              <a:gd name="connsiteY14" fmla="*/ 228600 h 2533650"/>
              <a:gd name="connsiteX15" fmla="*/ 666750 w 1079500"/>
              <a:gd name="connsiteY15" fmla="*/ 184150 h 2533650"/>
              <a:gd name="connsiteX16" fmla="*/ 692150 w 1079500"/>
              <a:gd name="connsiteY16" fmla="*/ 177800 h 2533650"/>
              <a:gd name="connsiteX17" fmla="*/ 685800 w 1079500"/>
              <a:gd name="connsiteY17" fmla="*/ 120650 h 2533650"/>
              <a:gd name="connsiteX18" fmla="*/ 596900 w 1079500"/>
              <a:gd name="connsiteY18" fmla="*/ 82550 h 2533650"/>
              <a:gd name="connsiteX19" fmla="*/ 603250 w 1079500"/>
              <a:gd name="connsiteY19" fmla="*/ 0 h 2533650"/>
              <a:gd name="connsiteX20" fmla="*/ 1022350 w 1079500"/>
              <a:gd name="connsiteY20" fmla="*/ 19050 h 2533650"/>
              <a:gd name="connsiteX21" fmla="*/ 1035050 w 1079500"/>
              <a:gd name="connsiteY21" fmla="*/ 419100 h 2533650"/>
              <a:gd name="connsiteX22" fmla="*/ 1009650 w 1079500"/>
              <a:gd name="connsiteY22" fmla="*/ 939800 h 2533650"/>
              <a:gd name="connsiteX23" fmla="*/ 1054100 w 1079500"/>
              <a:gd name="connsiteY23" fmla="*/ 1238250 h 2533650"/>
              <a:gd name="connsiteX24" fmla="*/ 1073150 w 1079500"/>
              <a:gd name="connsiteY24" fmla="*/ 1828800 h 2533650"/>
              <a:gd name="connsiteX25" fmla="*/ 1079500 w 1079500"/>
              <a:gd name="connsiteY25" fmla="*/ 2209800 h 2533650"/>
              <a:gd name="connsiteX26" fmla="*/ 920750 w 1079500"/>
              <a:gd name="connsiteY26" fmla="*/ 2476500 h 2533650"/>
              <a:gd name="connsiteX27" fmla="*/ 838200 w 1079500"/>
              <a:gd name="connsiteY27" fmla="*/ 2520950 h 2533650"/>
              <a:gd name="connsiteX28" fmla="*/ 565150 w 1079500"/>
              <a:gd name="connsiteY28" fmla="*/ 2533650 h 2533650"/>
              <a:gd name="connsiteX29" fmla="*/ 431800 w 1079500"/>
              <a:gd name="connsiteY29" fmla="*/ 2476500 h 2533650"/>
              <a:gd name="connsiteX30" fmla="*/ 196850 w 1079500"/>
              <a:gd name="connsiteY30" fmla="*/ 2298700 h 2533650"/>
              <a:gd name="connsiteX31" fmla="*/ 82550 w 1079500"/>
              <a:gd name="connsiteY31" fmla="*/ 2146300 h 2533650"/>
              <a:gd name="connsiteX32" fmla="*/ 0 w 1079500"/>
              <a:gd name="connsiteY32" fmla="*/ 185420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79500" h="2533650">
                <a:moveTo>
                  <a:pt x="0" y="1854200"/>
                </a:moveTo>
                <a:lnTo>
                  <a:pt x="158750" y="1803400"/>
                </a:lnTo>
                <a:lnTo>
                  <a:pt x="241300" y="1790700"/>
                </a:lnTo>
                <a:lnTo>
                  <a:pt x="368300" y="1790700"/>
                </a:lnTo>
                <a:lnTo>
                  <a:pt x="482600" y="1809750"/>
                </a:lnTo>
                <a:lnTo>
                  <a:pt x="603250" y="1803400"/>
                </a:lnTo>
                <a:lnTo>
                  <a:pt x="641350" y="1758950"/>
                </a:lnTo>
                <a:lnTo>
                  <a:pt x="755650" y="1625600"/>
                </a:lnTo>
                <a:lnTo>
                  <a:pt x="831850" y="1511300"/>
                </a:lnTo>
                <a:lnTo>
                  <a:pt x="806450" y="1301750"/>
                </a:lnTo>
                <a:lnTo>
                  <a:pt x="717550" y="1028700"/>
                </a:lnTo>
                <a:lnTo>
                  <a:pt x="673100" y="806450"/>
                </a:lnTo>
                <a:lnTo>
                  <a:pt x="660400" y="615950"/>
                </a:lnTo>
                <a:lnTo>
                  <a:pt x="654050" y="368300"/>
                </a:lnTo>
                <a:lnTo>
                  <a:pt x="666750" y="228600"/>
                </a:lnTo>
                <a:lnTo>
                  <a:pt x="666750" y="184150"/>
                </a:lnTo>
                <a:lnTo>
                  <a:pt x="692150" y="177800"/>
                </a:lnTo>
                <a:lnTo>
                  <a:pt x="685800" y="120650"/>
                </a:lnTo>
                <a:lnTo>
                  <a:pt x="596900" y="82550"/>
                </a:lnTo>
                <a:lnTo>
                  <a:pt x="603250" y="0"/>
                </a:lnTo>
                <a:lnTo>
                  <a:pt x="1022350" y="19050"/>
                </a:lnTo>
                <a:lnTo>
                  <a:pt x="1035050" y="419100"/>
                </a:lnTo>
                <a:lnTo>
                  <a:pt x="1009650" y="939800"/>
                </a:lnTo>
                <a:lnTo>
                  <a:pt x="1054100" y="1238250"/>
                </a:lnTo>
                <a:lnTo>
                  <a:pt x="1073150" y="1828800"/>
                </a:lnTo>
                <a:lnTo>
                  <a:pt x="1079500" y="2209800"/>
                </a:lnTo>
                <a:lnTo>
                  <a:pt x="920750" y="2476500"/>
                </a:lnTo>
                <a:lnTo>
                  <a:pt x="838200" y="2520950"/>
                </a:lnTo>
                <a:lnTo>
                  <a:pt x="565150" y="2533650"/>
                </a:lnTo>
                <a:lnTo>
                  <a:pt x="431800" y="2476500"/>
                </a:lnTo>
                <a:lnTo>
                  <a:pt x="196850" y="2298700"/>
                </a:lnTo>
                <a:lnTo>
                  <a:pt x="82550" y="2146300"/>
                </a:lnTo>
                <a:lnTo>
                  <a:pt x="0" y="1854200"/>
                </a:lnTo>
                <a:close/>
              </a:path>
            </a:pathLst>
          </a:custGeom>
          <a:solidFill>
            <a:srgbClr val="FF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953" name="Полилиния 125952"/>
          <p:cNvSpPr/>
          <p:nvPr/>
        </p:nvSpPr>
        <p:spPr>
          <a:xfrm>
            <a:off x="4470400" y="4349750"/>
            <a:ext cx="387350" cy="330200"/>
          </a:xfrm>
          <a:custGeom>
            <a:avLst/>
            <a:gdLst>
              <a:gd name="connsiteX0" fmla="*/ 0 w 387350"/>
              <a:gd name="connsiteY0" fmla="*/ 177800 h 330200"/>
              <a:gd name="connsiteX1" fmla="*/ 349250 w 387350"/>
              <a:gd name="connsiteY1" fmla="*/ 0 h 330200"/>
              <a:gd name="connsiteX2" fmla="*/ 387350 w 387350"/>
              <a:gd name="connsiteY2" fmla="*/ 203200 h 330200"/>
              <a:gd name="connsiteX3" fmla="*/ 355600 w 387350"/>
              <a:gd name="connsiteY3" fmla="*/ 292100 h 330200"/>
              <a:gd name="connsiteX4" fmla="*/ 273050 w 387350"/>
              <a:gd name="connsiteY4" fmla="*/ 330200 h 330200"/>
              <a:gd name="connsiteX5" fmla="*/ 190500 w 387350"/>
              <a:gd name="connsiteY5" fmla="*/ 330200 h 330200"/>
              <a:gd name="connsiteX6" fmla="*/ 82550 w 387350"/>
              <a:gd name="connsiteY6" fmla="*/ 279400 h 330200"/>
              <a:gd name="connsiteX7" fmla="*/ 0 w 387350"/>
              <a:gd name="connsiteY7" fmla="*/ 1778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7350" h="330200">
                <a:moveTo>
                  <a:pt x="0" y="177800"/>
                </a:moveTo>
                <a:lnTo>
                  <a:pt x="349250" y="0"/>
                </a:lnTo>
                <a:lnTo>
                  <a:pt x="387350" y="203200"/>
                </a:lnTo>
                <a:lnTo>
                  <a:pt x="355600" y="292100"/>
                </a:lnTo>
                <a:lnTo>
                  <a:pt x="273050" y="330200"/>
                </a:lnTo>
                <a:lnTo>
                  <a:pt x="190500" y="330200"/>
                </a:lnTo>
                <a:lnTo>
                  <a:pt x="82550" y="279400"/>
                </a:lnTo>
                <a:lnTo>
                  <a:pt x="0" y="177800"/>
                </a:lnTo>
                <a:close/>
              </a:path>
            </a:pathLst>
          </a:cu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Овал 68"/>
          <p:cNvSpPr/>
          <p:nvPr/>
        </p:nvSpPr>
        <p:spPr>
          <a:xfrm>
            <a:off x="3405686" y="4183063"/>
            <a:ext cx="260294" cy="278804"/>
          </a:xfrm>
          <a:prstGeom prst="ellipse">
            <a:avLst/>
          </a:pr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Овал 69"/>
          <p:cNvSpPr/>
          <p:nvPr/>
        </p:nvSpPr>
        <p:spPr>
          <a:xfrm>
            <a:off x="3665980" y="4228406"/>
            <a:ext cx="179787" cy="188118"/>
          </a:xfrm>
          <a:prstGeom prst="ellipse">
            <a:avLst/>
          </a:pr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9414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/>
          <p:cNvSpPr txBox="1">
            <a:spLocks/>
          </p:cNvSpPr>
          <p:nvPr/>
        </p:nvSpPr>
        <p:spPr bwMode="auto">
          <a:xfrm>
            <a:off x="1160290" y="838380"/>
            <a:ext cx="873654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2580" y="1796411"/>
            <a:ext cx="5875695" cy="1200329"/>
          </a:xfrm>
          <a:prstGeom prst="rect">
            <a:avLst/>
          </a:prstGeom>
          <a:solidFill>
            <a:srgbClr val="DAEE64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Внешние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инвесторы</a:t>
            </a: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43541" y="1839992"/>
            <a:ext cx="4464496" cy="2031325"/>
          </a:xfrm>
          <a:prstGeom prst="rect">
            <a:avLst/>
          </a:prstGeom>
          <a:solidFill>
            <a:srgbClr val="DAEE64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kern="0" dirty="0">
                <a:solidFill>
                  <a:sysClr val="windowText" lastClr="000000"/>
                </a:solidFill>
              </a:rPr>
              <a:t>Ключевые партнеры –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kern="0" dirty="0">
                <a:solidFill>
                  <a:sysClr val="windowText" lastClr="000000"/>
                </a:solidFill>
              </a:rPr>
              <a:t>Долгосрочные </a:t>
            </a:r>
            <a:r>
              <a:rPr lang="ru-RU" sz="1800" kern="0" dirty="0" smtClean="0">
                <a:solidFill>
                  <a:sysClr val="windowText" lastClr="000000"/>
                </a:solidFill>
              </a:rPr>
              <a:t>арендаторы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kern="0" dirty="0" smtClean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kern="0" dirty="0" smtClean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12581" y="3324403"/>
            <a:ext cx="2844612" cy="2031325"/>
          </a:xfrm>
          <a:prstGeom prst="rect">
            <a:avLst/>
          </a:prstGeom>
          <a:solidFill>
            <a:srgbClr val="DAEE64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kern="0" dirty="0" smtClean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0" dirty="0" smtClean="0">
                <a:solidFill>
                  <a:sysClr val="windowText" lastClr="000000"/>
                </a:solidFill>
              </a:rPr>
              <a:t>I.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Инвесторы</a:t>
            </a:r>
            <a:r>
              <a:rPr kumimoji="0" lang="ru-RU" sz="18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Девелоперы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743664" y="3324402"/>
            <a:ext cx="2844612" cy="2031325"/>
          </a:xfrm>
          <a:prstGeom prst="rect">
            <a:avLst/>
          </a:prstGeom>
          <a:solidFill>
            <a:srgbClr val="DAEE64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.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Ключевые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Партнеры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743755" y="5634709"/>
            <a:ext cx="2844612" cy="1200329"/>
          </a:xfrm>
          <a:prstGeom prst="rect">
            <a:avLst/>
          </a:prstGeom>
          <a:solidFill>
            <a:srgbClr val="D2FF00">
              <a:lumMod val="40000"/>
              <a:lumOff val="60000"/>
              <a:alpha val="53000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kern="0" dirty="0" smtClean="0">
                <a:solidFill>
                  <a:sysClr val="windowText" lastClr="000000"/>
                </a:solidFill>
              </a:rPr>
              <a:t>Занимаются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kern="0" dirty="0" smtClean="0">
                <a:solidFill>
                  <a:sysClr val="windowText" lastClr="000000"/>
                </a:solidFill>
              </a:rPr>
              <a:t>НИОКР на территории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kern="0" dirty="0" smtClean="0">
                <a:solidFill>
                  <a:sysClr val="windowText" lastClr="000000"/>
                </a:solidFill>
              </a:rPr>
              <a:t>ИЦ </a:t>
            </a:r>
            <a:r>
              <a:rPr lang="ru-RU" sz="1800" b="0" kern="0" dirty="0" err="1" smtClean="0">
                <a:solidFill>
                  <a:sysClr val="windowText" lastClr="000000"/>
                </a:solidFill>
              </a:rPr>
              <a:t>Сколково</a:t>
            </a:r>
            <a:endParaRPr lang="ru-RU" sz="1800" b="0" kern="0" dirty="0" smtClean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8" name="Равнобедренный треугольник 17"/>
          <p:cNvSpPr/>
          <p:nvPr/>
        </p:nvSpPr>
        <p:spPr>
          <a:xfrm rot="10800000">
            <a:off x="4222291" y="5401827"/>
            <a:ext cx="2159663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Равнобедренный треугольник 19"/>
          <p:cNvSpPr/>
          <p:nvPr/>
        </p:nvSpPr>
        <p:spPr>
          <a:xfrm rot="10800000">
            <a:off x="1105406" y="5400283"/>
            <a:ext cx="2159663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12581" y="5634207"/>
            <a:ext cx="2844612" cy="1200329"/>
          </a:xfrm>
          <a:prstGeom prst="rect">
            <a:avLst/>
          </a:prstGeom>
          <a:solidFill>
            <a:srgbClr val="D2FF00">
              <a:lumMod val="40000"/>
              <a:lumOff val="60000"/>
              <a:alpha val="53000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Отбор на основе открытого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конкурса </a:t>
            </a: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на </a:t>
            </a: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застройку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участков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3" name="Равнобедренный треугольник 32"/>
          <p:cNvSpPr/>
          <p:nvPr/>
        </p:nvSpPr>
        <p:spPr>
          <a:xfrm rot="10800000">
            <a:off x="4190823" y="6901761"/>
            <a:ext cx="2159663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Равнобедренный треугольник 33"/>
          <p:cNvSpPr/>
          <p:nvPr/>
        </p:nvSpPr>
        <p:spPr>
          <a:xfrm rot="10800000">
            <a:off x="8695957" y="4917743"/>
            <a:ext cx="2159663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Равнобедренный треугольник 34"/>
          <p:cNvSpPr/>
          <p:nvPr/>
        </p:nvSpPr>
        <p:spPr>
          <a:xfrm rot="10800000">
            <a:off x="996440" y="6926488"/>
            <a:ext cx="2159663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Равнобедренный треугольник 36"/>
          <p:cNvSpPr/>
          <p:nvPr/>
        </p:nvSpPr>
        <p:spPr>
          <a:xfrm rot="10800000">
            <a:off x="8695957" y="3945224"/>
            <a:ext cx="2159663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Равнобедренный треугольник 37"/>
          <p:cNvSpPr/>
          <p:nvPr/>
        </p:nvSpPr>
        <p:spPr>
          <a:xfrm rot="10800000">
            <a:off x="2552462" y="3056414"/>
            <a:ext cx="2159663" cy="209024"/>
          </a:xfrm>
          <a:prstGeom prst="triangl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Заголовок 2"/>
          <p:cNvSpPr txBox="1">
            <a:spLocks/>
          </p:cNvSpPr>
          <p:nvPr/>
        </p:nvSpPr>
        <p:spPr bwMode="auto">
          <a:xfrm>
            <a:off x="1086138" y="812650"/>
            <a:ext cx="873654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Проекты внешних </a:t>
            </a:r>
            <a:r>
              <a:rPr lang="ru-RU" sz="2400" dirty="0">
                <a:solidFill>
                  <a:schemeClr val="tx1"/>
                </a:solidFill>
              </a:rPr>
              <a:t>и</a:t>
            </a:r>
            <a:r>
              <a:rPr kumimoji="0" lang="ru-RU" sz="2400" b="1" i="0" u="none" strike="noStrike" kern="1200" cap="small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нвесторов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</a:t>
            </a: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743664" y="7189541"/>
            <a:ext cx="2844612" cy="175432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kern="0" dirty="0" smtClean="0">
                <a:solidFill>
                  <a:sysClr val="windowText" lastClr="000000"/>
                </a:solidFill>
              </a:rPr>
              <a:t>Инвестируют в строительство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kern="0" dirty="0" smtClean="0">
                <a:solidFill>
                  <a:sysClr val="windowText" lastClr="000000"/>
                </a:solidFill>
              </a:rPr>
              <a:t>Собственных зданий для размещения собственных Центров НИОКР 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653965" y="7189541"/>
            <a:ext cx="2844612" cy="175432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kern="0" dirty="0" smtClean="0">
                <a:solidFill>
                  <a:sysClr val="windowText" lastClr="000000"/>
                </a:solidFill>
              </a:rPr>
              <a:t>Инвестируют в строительство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kern="0" dirty="0">
                <a:solidFill>
                  <a:sysClr val="windowText" lastClr="000000"/>
                </a:solidFill>
              </a:rPr>
              <a:t>с</a:t>
            </a:r>
            <a:r>
              <a:rPr lang="ru-RU" sz="1800" b="0" kern="0" dirty="0" smtClean="0">
                <a:solidFill>
                  <a:sysClr val="windowText" lastClr="000000"/>
                </a:solidFill>
              </a:rPr>
              <a:t>обственных зданий для последующей сдачи в аренду резидентам ИЦ </a:t>
            </a:r>
            <a:r>
              <a:rPr lang="ru-RU" sz="1800" b="0" kern="0" dirty="0" err="1" smtClean="0">
                <a:solidFill>
                  <a:sysClr val="windowText" lastClr="000000"/>
                </a:solidFill>
              </a:rPr>
              <a:t>Сколково</a:t>
            </a:r>
            <a:endParaRPr lang="ru-RU" sz="1800" b="0" kern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7543540" y="4213807"/>
            <a:ext cx="4464496" cy="646331"/>
          </a:xfrm>
          <a:prstGeom prst="rect">
            <a:avLst/>
          </a:prstGeom>
          <a:solidFill>
            <a:srgbClr val="D2FF00">
              <a:lumMod val="40000"/>
              <a:lumOff val="60000"/>
              <a:alpha val="53000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kern="0" dirty="0" smtClean="0">
                <a:solidFill>
                  <a:sysClr val="windowText" lastClr="000000"/>
                </a:solidFill>
              </a:rPr>
              <a:t>Размещают свои центры НИОКР на условиях долгосрочной аренды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7483255" y="5208329"/>
            <a:ext cx="4536504" cy="175432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b="0" kern="0" dirty="0" smtClean="0">
              <a:solidFill>
                <a:sysClr val="windowText" lastClr="000000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kern="0" dirty="0" smtClean="0">
                <a:solidFill>
                  <a:sysClr val="windowText" lastClr="000000"/>
                </a:solidFill>
              </a:rPr>
              <a:t>ОДАС организует строительство объектов для конкретных долгосрочных арендаторов с  привлечением проектного финансирования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b="0" kern="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126978" name="Picture 2" descr="http://vectora.ru/images/vportfolio/works/full_size/stro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322" y="4234364"/>
            <a:ext cx="1259659" cy="1121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980" name="Picture 4" descr="http://te-st.ru/wp-content/uploads/%D0%90%D1%82%D0%BE%D0%BC-%D0%BB%D0%BE%D0%B3%D0%BE-%D0%BE%D1%84%D0%B8%D1%81-300x3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812" y="4356860"/>
            <a:ext cx="895078" cy="895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983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7076" y="2814151"/>
            <a:ext cx="1115785" cy="943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46189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/>
          <p:cNvSpPr txBox="1">
            <a:spLocks/>
          </p:cNvSpPr>
          <p:nvPr/>
        </p:nvSpPr>
        <p:spPr bwMode="auto">
          <a:xfrm>
            <a:off x="1160290" y="838380"/>
            <a:ext cx="873654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39" name="Заголовок 2"/>
          <p:cNvSpPr txBox="1">
            <a:spLocks/>
          </p:cNvSpPr>
          <p:nvPr/>
        </p:nvSpPr>
        <p:spPr bwMode="auto">
          <a:xfrm>
            <a:off x="1086138" y="812650"/>
            <a:ext cx="873654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Проекты внешних </a:t>
            </a:r>
            <a:r>
              <a:rPr lang="ru-RU" sz="2400" dirty="0" smtClean="0">
                <a:solidFill>
                  <a:schemeClr val="tx1"/>
                </a:solidFill>
              </a:rPr>
              <a:t>и</a:t>
            </a:r>
            <a:r>
              <a:rPr kumimoji="0" lang="ru-RU" sz="2400" b="1" i="0" u="none" strike="noStrike" kern="1200" cap="small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нвесторов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до</a:t>
            </a:r>
            <a:r>
              <a:rPr kumimoji="0" lang="ru-RU" sz="2400" b="1" i="0" u="none" strike="noStrike" kern="1200" cap="sm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2015 г  </a:t>
            </a: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grpSp>
        <p:nvGrpSpPr>
          <p:cNvPr id="73" name="Группа 72"/>
          <p:cNvGrpSpPr/>
          <p:nvPr/>
        </p:nvGrpSpPr>
        <p:grpSpPr>
          <a:xfrm>
            <a:off x="472204" y="1961355"/>
            <a:ext cx="5187189" cy="7194368"/>
            <a:chOff x="472204" y="1961355"/>
            <a:chExt cx="5187189" cy="6350307"/>
          </a:xfrm>
        </p:grpSpPr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204" y="1961355"/>
              <a:ext cx="5187189" cy="635030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Прямоугольник с одним скругленным углом 3"/>
            <p:cNvSpPr/>
            <p:nvPr/>
          </p:nvSpPr>
          <p:spPr>
            <a:xfrm rot="21436323">
              <a:off x="1034080" y="3245833"/>
              <a:ext cx="580783" cy="370539"/>
            </a:xfrm>
            <a:prstGeom prst="round1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 с одним скругленным углом 41"/>
            <p:cNvSpPr/>
            <p:nvPr/>
          </p:nvSpPr>
          <p:spPr>
            <a:xfrm rot="21335388">
              <a:off x="2282536" y="4091287"/>
              <a:ext cx="510187" cy="1666375"/>
            </a:xfrm>
            <a:prstGeom prst="round1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Полилиния 4"/>
            <p:cNvSpPr/>
            <p:nvPr/>
          </p:nvSpPr>
          <p:spPr>
            <a:xfrm>
              <a:off x="1066800" y="2527105"/>
              <a:ext cx="521235" cy="702603"/>
            </a:xfrm>
            <a:custGeom>
              <a:avLst/>
              <a:gdLst>
                <a:gd name="connsiteX0" fmla="*/ 117231 w 410308"/>
                <a:gd name="connsiteY0" fmla="*/ 35169 h 644769"/>
                <a:gd name="connsiteX1" fmla="*/ 386862 w 410308"/>
                <a:gd name="connsiteY1" fmla="*/ 23446 h 644769"/>
                <a:gd name="connsiteX2" fmla="*/ 410308 w 410308"/>
                <a:gd name="connsiteY2" fmla="*/ 621323 h 644769"/>
                <a:gd name="connsiteX3" fmla="*/ 0 w 410308"/>
                <a:gd name="connsiteY3" fmla="*/ 644769 h 644769"/>
                <a:gd name="connsiteX4" fmla="*/ 164123 w 410308"/>
                <a:gd name="connsiteY4" fmla="*/ 0 h 644769"/>
                <a:gd name="connsiteX5" fmla="*/ 117231 w 410308"/>
                <a:gd name="connsiteY5" fmla="*/ 35169 h 64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0308" h="644769">
                  <a:moveTo>
                    <a:pt x="117231" y="35169"/>
                  </a:moveTo>
                  <a:lnTo>
                    <a:pt x="386862" y="23446"/>
                  </a:lnTo>
                  <a:lnTo>
                    <a:pt x="410308" y="621323"/>
                  </a:lnTo>
                  <a:lnTo>
                    <a:pt x="0" y="644769"/>
                  </a:lnTo>
                  <a:lnTo>
                    <a:pt x="164123" y="0"/>
                  </a:lnTo>
                  <a:lnTo>
                    <a:pt x="117231" y="3516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 с одним скругленным углом 42"/>
            <p:cNvSpPr/>
            <p:nvPr/>
          </p:nvSpPr>
          <p:spPr>
            <a:xfrm rot="21335388">
              <a:off x="1634850" y="2625072"/>
              <a:ext cx="178360" cy="1383841"/>
            </a:xfrm>
            <a:prstGeom prst="round1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 с одним скругленным углом 43"/>
            <p:cNvSpPr/>
            <p:nvPr/>
          </p:nvSpPr>
          <p:spPr>
            <a:xfrm rot="21387754">
              <a:off x="1060181" y="3646226"/>
              <a:ext cx="594883" cy="380223"/>
            </a:xfrm>
            <a:prstGeom prst="round1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356" y="1796850"/>
            <a:ext cx="6264676" cy="4728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9822679" y="1947889"/>
            <a:ext cx="2225045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7030A0"/>
                </a:solidFill>
              </a:rPr>
              <a:t>Центр НИОКР Трансмаш -  25 000 м2</a:t>
            </a:r>
          </a:p>
          <a:p>
            <a:pPr algn="ctr"/>
            <a:r>
              <a:rPr lang="ru-RU" sz="1400" dirty="0" smtClean="0">
                <a:solidFill>
                  <a:srgbClr val="7030A0"/>
                </a:solidFill>
              </a:rPr>
              <a:t>(Инвестор Трансмаш)</a:t>
            </a:r>
            <a:endParaRPr lang="ru-RU" sz="1400" dirty="0">
              <a:solidFill>
                <a:srgbClr val="7030A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8060229" y="2096943"/>
            <a:ext cx="1877342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Microsoft, Cisco</a:t>
            </a:r>
            <a:endParaRPr lang="ru-RU" sz="1400" dirty="0" smtClean="0">
              <a:solidFill>
                <a:srgbClr val="FF0000"/>
              </a:solidFill>
            </a:endParaRPr>
          </a:p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~</a:t>
            </a:r>
            <a:r>
              <a:rPr lang="ru-RU" sz="1400" dirty="0" smtClean="0">
                <a:solidFill>
                  <a:srgbClr val="FF0000"/>
                </a:solidFill>
              </a:rPr>
              <a:t>25 000 м2</a:t>
            </a:r>
          </a:p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(частный инвестор)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221356" y="2365361"/>
            <a:ext cx="1770185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Центры НИОКР </a:t>
            </a:r>
            <a:r>
              <a:rPr lang="ru-RU" sz="1400" dirty="0" smtClean="0"/>
              <a:t>ключевых партнеров:</a:t>
            </a:r>
          </a:p>
          <a:p>
            <a:pPr algn="ctr"/>
            <a:r>
              <a:rPr lang="en-US" sz="1400" dirty="0" smtClean="0"/>
              <a:t>~</a:t>
            </a:r>
            <a:r>
              <a:rPr lang="ru-RU" sz="1400" dirty="0" smtClean="0"/>
              <a:t> 5 000 м2 </a:t>
            </a:r>
          </a:p>
          <a:p>
            <a:pPr algn="ctr"/>
            <a:r>
              <a:rPr lang="ru-RU" sz="1400" dirty="0" smtClean="0"/>
              <a:t>(частный инвестор)</a:t>
            </a:r>
            <a:endParaRPr lang="ru-RU" sz="1400" dirty="0"/>
          </a:p>
        </p:txBody>
      </p:sp>
      <p:sp>
        <p:nvSpPr>
          <p:cNvPr id="50" name="Полилиния 49"/>
          <p:cNvSpPr/>
          <p:nvPr/>
        </p:nvSpPr>
        <p:spPr>
          <a:xfrm>
            <a:off x="9937571" y="3318670"/>
            <a:ext cx="2250830" cy="1793630"/>
          </a:xfrm>
          <a:custGeom>
            <a:avLst/>
            <a:gdLst>
              <a:gd name="connsiteX0" fmla="*/ 0 w 2250830"/>
              <a:gd name="connsiteY0" fmla="*/ 398584 h 1793630"/>
              <a:gd name="connsiteX1" fmla="*/ 1125415 w 2250830"/>
              <a:gd name="connsiteY1" fmla="*/ 0 h 1793630"/>
              <a:gd name="connsiteX2" fmla="*/ 2250830 w 2250830"/>
              <a:gd name="connsiteY2" fmla="*/ 1301261 h 1793630"/>
              <a:gd name="connsiteX3" fmla="*/ 1066800 w 2250830"/>
              <a:gd name="connsiteY3" fmla="*/ 1793630 h 1793630"/>
              <a:gd name="connsiteX4" fmla="*/ 0 w 2250830"/>
              <a:gd name="connsiteY4" fmla="*/ 398584 h 179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50830" h="1793630">
                <a:moveTo>
                  <a:pt x="0" y="398584"/>
                </a:moveTo>
                <a:lnTo>
                  <a:pt x="1125415" y="0"/>
                </a:lnTo>
                <a:lnTo>
                  <a:pt x="2250830" y="1301261"/>
                </a:lnTo>
                <a:lnTo>
                  <a:pt x="1066800" y="1793630"/>
                </a:lnTo>
                <a:lnTo>
                  <a:pt x="0" y="398584"/>
                </a:lnTo>
                <a:close/>
              </a:path>
            </a:pathLst>
          </a:cu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олилиния 50"/>
          <p:cNvSpPr/>
          <p:nvPr/>
        </p:nvSpPr>
        <p:spPr>
          <a:xfrm>
            <a:off x="8495633" y="3740700"/>
            <a:ext cx="2391507" cy="2028093"/>
          </a:xfrm>
          <a:custGeom>
            <a:avLst/>
            <a:gdLst>
              <a:gd name="connsiteX0" fmla="*/ 0 w 2391507"/>
              <a:gd name="connsiteY0" fmla="*/ 457200 h 2028093"/>
              <a:gd name="connsiteX1" fmla="*/ 1324707 w 2391507"/>
              <a:gd name="connsiteY1" fmla="*/ 0 h 2028093"/>
              <a:gd name="connsiteX2" fmla="*/ 2391507 w 2391507"/>
              <a:gd name="connsiteY2" fmla="*/ 1430216 h 2028093"/>
              <a:gd name="connsiteX3" fmla="*/ 879230 w 2391507"/>
              <a:gd name="connsiteY3" fmla="*/ 2028093 h 2028093"/>
              <a:gd name="connsiteX4" fmla="*/ 0 w 2391507"/>
              <a:gd name="connsiteY4" fmla="*/ 457200 h 2028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1507" h="2028093">
                <a:moveTo>
                  <a:pt x="0" y="457200"/>
                </a:moveTo>
                <a:lnTo>
                  <a:pt x="1324707" y="0"/>
                </a:lnTo>
                <a:lnTo>
                  <a:pt x="2391507" y="1430216"/>
                </a:lnTo>
                <a:lnTo>
                  <a:pt x="879230" y="2028093"/>
                </a:lnTo>
                <a:lnTo>
                  <a:pt x="0" y="457200"/>
                </a:lnTo>
                <a:close/>
              </a:path>
            </a:pathLst>
          </a:cu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олилиния 52"/>
          <p:cNvSpPr/>
          <p:nvPr/>
        </p:nvSpPr>
        <p:spPr>
          <a:xfrm>
            <a:off x="6197909" y="2873193"/>
            <a:ext cx="4771293" cy="1922584"/>
          </a:xfrm>
          <a:custGeom>
            <a:avLst/>
            <a:gdLst>
              <a:gd name="connsiteX0" fmla="*/ 4771293 w 4771293"/>
              <a:gd name="connsiteY0" fmla="*/ 339969 h 1922584"/>
              <a:gd name="connsiteX1" fmla="*/ 246185 w 4771293"/>
              <a:gd name="connsiteY1" fmla="*/ 1922584 h 1922584"/>
              <a:gd name="connsiteX2" fmla="*/ 0 w 4771293"/>
              <a:gd name="connsiteY2" fmla="*/ 1477107 h 1922584"/>
              <a:gd name="connsiteX3" fmla="*/ 4525108 w 4771293"/>
              <a:gd name="connsiteY3" fmla="*/ 0 h 1922584"/>
              <a:gd name="connsiteX4" fmla="*/ 4771293 w 4771293"/>
              <a:gd name="connsiteY4" fmla="*/ 339969 h 192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1293" h="1922584">
                <a:moveTo>
                  <a:pt x="4771293" y="339969"/>
                </a:moveTo>
                <a:lnTo>
                  <a:pt x="246185" y="1922584"/>
                </a:lnTo>
                <a:lnTo>
                  <a:pt x="0" y="1477107"/>
                </a:lnTo>
                <a:lnTo>
                  <a:pt x="4525108" y="0"/>
                </a:lnTo>
                <a:lnTo>
                  <a:pt x="4771293" y="339969"/>
                </a:lnTo>
                <a:close/>
              </a:path>
            </a:pathLst>
          </a:custGeom>
          <a:noFill/>
          <a:ln w="635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12059448" y="5030238"/>
            <a:ext cx="543169" cy="410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9026638" y="3074047"/>
            <a:ext cx="12746" cy="1172890"/>
          </a:xfrm>
          <a:prstGeom prst="line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10617833" y="2732516"/>
            <a:ext cx="0" cy="784687"/>
          </a:xfrm>
          <a:prstGeom prst="line">
            <a:avLst/>
          </a:prstGeom>
          <a:ln w="3175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 flipV="1">
            <a:off x="6486578" y="4475775"/>
            <a:ext cx="0" cy="1139980"/>
          </a:xfrm>
          <a:prstGeom prst="line">
            <a:avLst/>
          </a:prstGeom>
          <a:ln w="31750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7349" y="4195731"/>
            <a:ext cx="1317849" cy="28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7279" y="4984035"/>
            <a:ext cx="866191" cy="432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" name="Рисунок 60" descr="Logotip-TMH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0653" y="3760059"/>
            <a:ext cx="921069" cy="575693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TextBox 61"/>
          <p:cNvSpPr txBox="1"/>
          <p:nvPr/>
        </p:nvSpPr>
        <p:spPr>
          <a:xfrm>
            <a:off x="5893108" y="5548294"/>
            <a:ext cx="18773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B0F0"/>
                </a:solidFill>
              </a:rPr>
              <a:t>БЦ «Галерея»</a:t>
            </a:r>
          </a:p>
          <a:p>
            <a:r>
              <a:rPr lang="ru-RU" sz="1400" dirty="0" smtClean="0">
                <a:solidFill>
                  <a:srgbClr val="00B0F0"/>
                </a:solidFill>
              </a:rPr>
              <a:t>63 000 м2</a:t>
            </a:r>
            <a:endParaRPr lang="ru-RU" sz="1400" dirty="0">
              <a:solidFill>
                <a:srgbClr val="00B0F0"/>
              </a:solidFill>
            </a:endParaRPr>
          </a:p>
          <a:p>
            <a:r>
              <a:rPr lang="ru-RU" sz="1400" dirty="0" smtClean="0">
                <a:solidFill>
                  <a:srgbClr val="00B0F0"/>
                </a:solidFill>
              </a:rPr>
              <a:t>(</a:t>
            </a:r>
            <a:r>
              <a:rPr lang="ru-RU" sz="1400" dirty="0" err="1" smtClean="0">
                <a:solidFill>
                  <a:srgbClr val="00B0F0"/>
                </a:solidFill>
              </a:rPr>
              <a:t>инвест</a:t>
            </a:r>
            <a:r>
              <a:rPr lang="ru-RU" sz="1400" dirty="0" smtClean="0">
                <a:solidFill>
                  <a:srgbClr val="00B0F0"/>
                </a:solidFill>
              </a:rPr>
              <a:t>-конкурс)</a:t>
            </a:r>
            <a:endParaRPr lang="ru-RU" sz="1400" dirty="0">
              <a:solidFill>
                <a:srgbClr val="00B0F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822462" y="1947889"/>
            <a:ext cx="6780155" cy="44211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5822462" y="6525040"/>
            <a:ext cx="6780155" cy="271274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TextBox 66"/>
          <p:cNvSpPr txBox="1"/>
          <p:nvPr/>
        </p:nvSpPr>
        <p:spPr>
          <a:xfrm>
            <a:off x="9937571" y="6886602"/>
            <a:ext cx="2110153" cy="11695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БЦ </a:t>
            </a:r>
            <a:r>
              <a:rPr lang="ru-RU" sz="1400" dirty="0" err="1" smtClean="0"/>
              <a:t>Т</a:t>
            </a:r>
            <a:r>
              <a:rPr lang="ru-RU" sz="1400" dirty="0" err="1" smtClean="0"/>
              <a:t>ехнотвин</a:t>
            </a:r>
            <a:r>
              <a:rPr lang="ru-RU" sz="1400" dirty="0" smtClean="0"/>
              <a:t>:</a:t>
            </a:r>
          </a:p>
          <a:p>
            <a:pPr algn="ctr"/>
            <a:r>
              <a:rPr lang="en-US" sz="1400" dirty="0" smtClean="0"/>
              <a:t>~ 54 000 </a:t>
            </a:r>
            <a:r>
              <a:rPr lang="ru-RU" sz="1400" dirty="0" smtClean="0"/>
              <a:t>м2</a:t>
            </a:r>
            <a:endParaRPr lang="ru-RU" sz="1400" dirty="0"/>
          </a:p>
          <a:p>
            <a:pPr algn="ctr"/>
            <a:r>
              <a:rPr lang="ru-RU" sz="1400" dirty="0" smtClean="0"/>
              <a:t>(Инвестиционный конкурс)</a:t>
            </a:r>
          </a:p>
          <a:p>
            <a:pPr algn="ctr"/>
            <a:endParaRPr lang="ru-RU" sz="1400" dirty="0"/>
          </a:p>
        </p:txBody>
      </p:sp>
      <p:pic>
        <p:nvPicPr>
          <p:cNvPr id="12800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3108" y="6627482"/>
            <a:ext cx="3505614" cy="2528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6" name="Соединительная линия уступом 75"/>
          <p:cNvCxnSpPr/>
          <p:nvPr/>
        </p:nvCxnSpPr>
        <p:spPr>
          <a:xfrm>
            <a:off x="2697037" y="5917626"/>
            <a:ext cx="3387243" cy="1174836"/>
          </a:xfrm>
          <a:prstGeom prst="bentConnector3">
            <a:avLst>
              <a:gd name="adj1" fmla="val 81495"/>
            </a:avLst>
          </a:prstGeom>
          <a:ln w="31750">
            <a:solidFill>
              <a:srgbClr val="FF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 flipH="1">
            <a:off x="1186496" y="3000298"/>
            <a:ext cx="4897784" cy="13868"/>
          </a:xfrm>
          <a:prstGeom prst="line">
            <a:avLst/>
          </a:prstGeom>
          <a:ln w="317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639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352990" y="8731582"/>
            <a:ext cx="2987040" cy="511175"/>
          </a:xfrm>
        </p:spPr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Заголовок 2"/>
          <p:cNvSpPr txBox="1">
            <a:spLocks/>
          </p:cNvSpPr>
          <p:nvPr/>
        </p:nvSpPr>
        <p:spPr bwMode="auto">
          <a:xfrm>
            <a:off x="1160290" y="838380"/>
            <a:ext cx="873654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1086138" y="812650"/>
            <a:ext cx="8736542" cy="7064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Проекты внешних </a:t>
            </a:r>
            <a:r>
              <a:rPr lang="ru-RU" sz="2400" dirty="0" smtClean="0">
                <a:solidFill>
                  <a:schemeClr val="tx1"/>
                </a:solidFill>
              </a:rPr>
              <a:t>и</a:t>
            </a:r>
            <a:r>
              <a:rPr kumimoji="0" lang="ru-RU" sz="2400" b="1" i="0" u="none" strike="noStrike" kern="1200" cap="small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нвесторов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до</a:t>
            </a:r>
            <a:r>
              <a:rPr kumimoji="0" lang="ru-RU" sz="2400" b="1" i="0" u="none" strike="noStrike" kern="1200" cap="sm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2015-2018 г  </a:t>
            </a: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3585940" y="1937731"/>
            <a:ext cx="5823239" cy="5209607"/>
            <a:chOff x="2625090" y="2483497"/>
            <a:chExt cx="6332236" cy="5731485"/>
          </a:xfrm>
        </p:grpSpPr>
        <p:pic>
          <p:nvPicPr>
            <p:cNvPr id="129027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5090" y="2483497"/>
              <a:ext cx="6332236" cy="57314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Полилиния 4"/>
            <p:cNvSpPr/>
            <p:nvPr/>
          </p:nvSpPr>
          <p:spPr>
            <a:xfrm>
              <a:off x="3896311" y="5917259"/>
              <a:ext cx="715108" cy="574431"/>
            </a:xfrm>
            <a:custGeom>
              <a:avLst/>
              <a:gdLst>
                <a:gd name="connsiteX0" fmla="*/ 0 w 715108"/>
                <a:gd name="connsiteY0" fmla="*/ 375138 h 574431"/>
                <a:gd name="connsiteX1" fmla="*/ 140677 w 715108"/>
                <a:gd name="connsiteY1" fmla="*/ 422031 h 574431"/>
                <a:gd name="connsiteX2" fmla="*/ 351692 w 715108"/>
                <a:gd name="connsiteY2" fmla="*/ 246185 h 574431"/>
                <a:gd name="connsiteX3" fmla="*/ 597877 w 715108"/>
                <a:gd name="connsiteY3" fmla="*/ 574431 h 574431"/>
                <a:gd name="connsiteX4" fmla="*/ 715108 w 715108"/>
                <a:gd name="connsiteY4" fmla="*/ 398585 h 574431"/>
                <a:gd name="connsiteX5" fmla="*/ 257908 w 715108"/>
                <a:gd name="connsiteY5" fmla="*/ 0 h 574431"/>
                <a:gd name="connsiteX6" fmla="*/ 0 w 715108"/>
                <a:gd name="connsiteY6" fmla="*/ 375138 h 57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108" h="574431">
                  <a:moveTo>
                    <a:pt x="0" y="375138"/>
                  </a:moveTo>
                  <a:lnTo>
                    <a:pt x="140677" y="422031"/>
                  </a:lnTo>
                  <a:lnTo>
                    <a:pt x="351692" y="246185"/>
                  </a:lnTo>
                  <a:lnTo>
                    <a:pt x="597877" y="574431"/>
                  </a:lnTo>
                  <a:lnTo>
                    <a:pt x="715108" y="398585"/>
                  </a:lnTo>
                  <a:lnTo>
                    <a:pt x="257908" y="0"/>
                  </a:lnTo>
                  <a:lnTo>
                    <a:pt x="0" y="375138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3968994" y="6241402"/>
              <a:ext cx="464820" cy="457200"/>
            </a:xfrm>
            <a:custGeom>
              <a:avLst/>
              <a:gdLst>
                <a:gd name="connsiteX0" fmla="*/ 0 w 464820"/>
                <a:gd name="connsiteY0" fmla="*/ 228600 h 457200"/>
                <a:gd name="connsiteX1" fmla="*/ 259080 w 464820"/>
                <a:gd name="connsiteY1" fmla="*/ 0 h 457200"/>
                <a:gd name="connsiteX2" fmla="*/ 464820 w 464820"/>
                <a:gd name="connsiteY2" fmla="*/ 243840 h 457200"/>
                <a:gd name="connsiteX3" fmla="*/ 327660 w 464820"/>
                <a:gd name="connsiteY3" fmla="*/ 457200 h 457200"/>
                <a:gd name="connsiteX4" fmla="*/ 0 w 464820"/>
                <a:gd name="connsiteY4" fmla="*/ 2286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820" h="457200">
                  <a:moveTo>
                    <a:pt x="0" y="228600"/>
                  </a:moveTo>
                  <a:lnTo>
                    <a:pt x="259080" y="0"/>
                  </a:lnTo>
                  <a:lnTo>
                    <a:pt x="464820" y="243840"/>
                  </a:lnTo>
                  <a:lnTo>
                    <a:pt x="327660" y="457200"/>
                  </a:lnTo>
                  <a:lnTo>
                    <a:pt x="0" y="22860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олилиния 10"/>
            <p:cNvSpPr/>
            <p:nvPr/>
          </p:nvSpPr>
          <p:spPr>
            <a:xfrm>
              <a:off x="3770874" y="3886822"/>
              <a:ext cx="1767840" cy="1729740"/>
            </a:xfrm>
            <a:custGeom>
              <a:avLst/>
              <a:gdLst>
                <a:gd name="connsiteX0" fmla="*/ 0 w 1767840"/>
                <a:gd name="connsiteY0" fmla="*/ 960120 h 1729740"/>
                <a:gd name="connsiteX1" fmla="*/ 563880 w 1767840"/>
                <a:gd name="connsiteY1" fmla="*/ 0 h 1729740"/>
                <a:gd name="connsiteX2" fmla="*/ 655320 w 1767840"/>
                <a:gd name="connsiteY2" fmla="*/ 53340 h 1729740"/>
                <a:gd name="connsiteX3" fmla="*/ 487680 w 1767840"/>
                <a:gd name="connsiteY3" fmla="*/ 350520 h 1729740"/>
                <a:gd name="connsiteX4" fmla="*/ 678180 w 1767840"/>
                <a:gd name="connsiteY4" fmla="*/ 411480 h 1729740"/>
                <a:gd name="connsiteX5" fmla="*/ 685800 w 1767840"/>
                <a:gd name="connsiteY5" fmla="*/ 548640 h 1729740"/>
                <a:gd name="connsiteX6" fmla="*/ 685800 w 1767840"/>
                <a:gd name="connsiteY6" fmla="*/ 678180 h 1729740"/>
                <a:gd name="connsiteX7" fmla="*/ 792480 w 1767840"/>
                <a:gd name="connsiteY7" fmla="*/ 1242060 h 1729740"/>
                <a:gd name="connsiteX8" fmla="*/ 1470660 w 1767840"/>
                <a:gd name="connsiteY8" fmla="*/ 883920 h 1729740"/>
                <a:gd name="connsiteX9" fmla="*/ 1691640 w 1767840"/>
                <a:gd name="connsiteY9" fmla="*/ 960120 h 1729740"/>
                <a:gd name="connsiteX10" fmla="*/ 1744980 w 1767840"/>
                <a:gd name="connsiteY10" fmla="*/ 1051560 h 1729740"/>
                <a:gd name="connsiteX11" fmla="*/ 1767840 w 1767840"/>
                <a:gd name="connsiteY11" fmla="*/ 1188720 h 1729740"/>
                <a:gd name="connsiteX12" fmla="*/ 1706880 w 1767840"/>
                <a:gd name="connsiteY12" fmla="*/ 1333500 h 1729740"/>
                <a:gd name="connsiteX13" fmla="*/ 975360 w 1767840"/>
                <a:gd name="connsiteY13" fmla="*/ 1729740 h 1729740"/>
                <a:gd name="connsiteX14" fmla="*/ 914400 w 1767840"/>
                <a:gd name="connsiteY14" fmla="*/ 1531620 h 1729740"/>
                <a:gd name="connsiteX15" fmla="*/ 800100 w 1767840"/>
                <a:gd name="connsiteY15" fmla="*/ 1379220 h 1729740"/>
                <a:gd name="connsiteX16" fmla="*/ 678180 w 1767840"/>
                <a:gd name="connsiteY16" fmla="*/ 1295400 h 1729740"/>
                <a:gd name="connsiteX17" fmla="*/ 0 w 1767840"/>
                <a:gd name="connsiteY17" fmla="*/ 960120 h 1729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7840" h="1729740">
                  <a:moveTo>
                    <a:pt x="0" y="960120"/>
                  </a:moveTo>
                  <a:lnTo>
                    <a:pt x="563880" y="0"/>
                  </a:lnTo>
                  <a:lnTo>
                    <a:pt x="655320" y="53340"/>
                  </a:lnTo>
                  <a:lnTo>
                    <a:pt x="487680" y="350520"/>
                  </a:lnTo>
                  <a:lnTo>
                    <a:pt x="678180" y="411480"/>
                  </a:lnTo>
                  <a:lnTo>
                    <a:pt x="685800" y="548640"/>
                  </a:lnTo>
                  <a:lnTo>
                    <a:pt x="685800" y="678180"/>
                  </a:lnTo>
                  <a:lnTo>
                    <a:pt x="792480" y="1242060"/>
                  </a:lnTo>
                  <a:lnTo>
                    <a:pt x="1470660" y="883920"/>
                  </a:lnTo>
                  <a:lnTo>
                    <a:pt x="1691640" y="960120"/>
                  </a:lnTo>
                  <a:lnTo>
                    <a:pt x="1744980" y="1051560"/>
                  </a:lnTo>
                  <a:lnTo>
                    <a:pt x="1767840" y="1188720"/>
                  </a:lnTo>
                  <a:lnTo>
                    <a:pt x="1706880" y="1333500"/>
                  </a:lnTo>
                  <a:lnTo>
                    <a:pt x="975360" y="1729740"/>
                  </a:lnTo>
                  <a:lnTo>
                    <a:pt x="914400" y="1531620"/>
                  </a:lnTo>
                  <a:lnTo>
                    <a:pt x="800100" y="1379220"/>
                  </a:lnTo>
                  <a:lnTo>
                    <a:pt x="678180" y="1295400"/>
                  </a:lnTo>
                  <a:lnTo>
                    <a:pt x="0" y="96012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олилиния 11"/>
            <p:cNvSpPr/>
            <p:nvPr/>
          </p:nvSpPr>
          <p:spPr>
            <a:xfrm>
              <a:off x="4426194" y="4542142"/>
              <a:ext cx="335280" cy="647700"/>
            </a:xfrm>
            <a:custGeom>
              <a:avLst/>
              <a:gdLst>
                <a:gd name="connsiteX0" fmla="*/ 0 w 335280"/>
                <a:gd name="connsiteY0" fmla="*/ 0 h 647700"/>
                <a:gd name="connsiteX1" fmla="*/ 335280 w 335280"/>
                <a:gd name="connsiteY1" fmla="*/ 647700 h 647700"/>
                <a:gd name="connsiteX2" fmla="*/ 137160 w 335280"/>
                <a:gd name="connsiteY2" fmla="*/ 586740 h 647700"/>
                <a:gd name="connsiteX3" fmla="*/ 0 w 335280"/>
                <a:gd name="connsiteY3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280" h="647700">
                  <a:moveTo>
                    <a:pt x="0" y="0"/>
                  </a:moveTo>
                  <a:lnTo>
                    <a:pt x="335280" y="647700"/>
                  </a:lnTo>
                  <a:lnTo>
                    <a:pt x="137160" y="5867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с одним скругленным углом 12"/>
            <p:cNvSpPr/>
            <p:nvPr/>
          </p:nvSpPr>
          <p:spPr>
            <a:xfrm rot="17829528">
              <a:off x="4318385" y="3483129"/>
              <a:ext cx="1051560" cy="304800"/>
            </a:xfrm>
            <a:prstGeom prst="round1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с одним скругленным углом 15"/>
            <p:cNvSpPr/>
            <p:nvPr/>
          </p:nvSpPr>
          <p:spPr>
            <a:xfrm rot="18110804">
              <a:off x="4949179" y="6729086"/>
              <a:ext cx="376935" cy="400344"/>
            </a:xfrm>
            <a:prstGeom prst="round1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олилиния 14"/>
            <p:cNvSpPr/>
            <p:nvPr/>
          </p:nvSpPr>
          <p:spPr>
            <a:xfrm>
              <a:off x="6346434" y="6530962"/>
              <a:ext cx="541020" cy="518160"/>
            </a:xfrm>
            <a:custGeom>
              <a:avLst/>
              <a:gdLst>
                <a:gd name="connsiteX0" fmla="*/ 182880 w 541020"/>
                <a:gd name="connsiteY0" fmla="*/ 0 h 518160"/>
                <a:gd name="connsiteX1" fmla="*/ 0 w 541020"/>
                <a:gd name="connsiteY1" fmla="*/ 335280 h 518160"/>
                <a:gd name="connsiteX2" fmla="*/ 327660 w 541020"/>
                <a:gd name="connsiteY2" fmla="*/ 518160 h 518160"/>
                <a:gd name="connsiteX3" fmla="*/ 449580 w 541020"/>
                <a:gd name="connsiteY3" fmla="*/ 510540 h 518160"/>
                <a:gd name="connsiteX4" fmla="*/ 541020 w 541020"/>
                <a:gd name="connsiteY4" fmla="*/ 312420 h 518160"/>
                <a:gd name="connsiteX5" fmla="*/ 320040 w 541020"/>
                <a:gd name="connsiteY5" fmla="*/ 190500 h 518160"/>
                <a:gd name="connsiteX6" fmla="*/ 426720 w 541020"/>
                <a:gd name="connsiteY6" fmla="*/ 0 h 518160"/>
                <a:gd name="connsiteX7" fmla="*/ 274320 w 541020"/>
                <a:gd name="connsiteY7" fmla="*/ 22860 h 518160"/>
                <a:gd name="connsiteX8" fmla="*/ 182880 w 541020"/>
                <a:gd name="connsiteY8" fmla="*/ 0 h 518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020" h="518160">
                  <a:moveTo>
                    <a:pt x="182880" y="0"/>
                  </a:moveTo>
                  <a:lnTo>
                    <a:pt x="0" y="335280"/>
                  </a:lnTo>
                  <a:lnTo>
                    <a:pt x="327660" y="518160"/>
                  </a:lnTo>
                  <a:lnTo>
                    <a:pt x="449580" y="510540"/>
                  </a:lnTo>
                  <a:lnTo>
                    <a:pt x="541020" y="312420"/>
                  </a:lnTo>
                  <a:lnTo>
                    <a:pt x="320040" y="190500"/>
                  </a:lnTo>
                  <a:lnTo>
                    <a:pt x="426720" y="0"/>
                  </a:lnTo>
                  <a:lnTo>
                    <a:pt x="274320" y="22860"/>
                  </a:lnTo>
                  <a:lnTo>
                    <a:pt x="18288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4753854" y="5639422"/>
              <a:ext cx="510540" cy="457200"/>
            </a:xfrm>
            <a:custGeom>
              <a:avLst/>
              <a:gdLst>
                <a:gd name="connsiteX0" fmla="*/ 0 w 510540"/>
                <a:gd name="connsiteY0" fmla="*/ 60960 h 457200"/>
                <a:gd name="connsiteX1" fmla="*/ 167640 w 510540"/>
                <a:gd name="connsiteY1" fmla="*/ 0 h 457200"/>
                <a:gd name="connsiteX2" fmla="*/ 510540 w 510540"/>
                <a:gd name="connsiteY2" fmla="*/ 182880 h 457200"/>
                <a:gd name="connsiteX3" fmla="*/ 365760 w 510540"/>
                <a:gd name="connsiteY3" fmla="*/ 457200 h 457200"/>
                <a:gd name="connsiteX4" fmla="*/ 7620 w 510540"/>
                <a:gd name="connsiteY4" fmla="*/ 259080 h 457200"/>
                <a:gd name="connsiteX5" fmla="*/ 0 w 510540"/>
                <a:gd name="connsiteY5" fmla="*/ 6096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0540" h="457200">
                  <a:moveTo>
                    <a:pt x="0" y="60960"/>
                  </a:moveTo>
                  <a:lnTo>
                    <a:pt x="167640" y="0"/>
                  </a:lnTo>
                  <a:lnTo>
                    <a:pt x="510540" y="182880"/>
                  </a:lnTo>
                  <a:lnTo>
                    <a:pt x="365760" y="457200"/>
                  </a:lnTo>
                  <a:lnTo>
                    <a:pt x="7620" y="259080"/>
                  </a:lnTo>
                  <a:lnTo>
                    <a:pt x="0" y="6096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 с одним скругленным углом 19"/>
            <p:cNvSpPr/>
            <p:nvPr/>
          </p:nvSpPr>
          <p:spPr>
            <a:xfrm rot="18110804">
              <a:off x="4445897" y="3676183"/>
              <a:ext cx="743501" cy="556078"/>
            </a:xfrm>
            <a:prstGeom prst="round1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2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7125" y="4394479"/>
            <a:ext cx="2502905" cy="706342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827" y="2212063"/>
            <a:ext cx="2811681" cy="55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532" y="4362809"/>
            <a:ext cx="2811681" cy="55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9029" name="Picture 5" descr="http://neftegaz.ru/images/tatneft_log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1341" y="1967469"/>
            <a:ext cx="2954474" cy="1181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113" y="7515763"/>
            <a:ext cx="1015143" cy="1090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9031" name="Picture 7" descr="https://encrypted-tbn3.gstatic.com/images?q=tbn:ANd9GcSr2-Q3dGRAS3eJCfecgizt_Al9DwQf6I0f6c67HP_n-VoEGu7fF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62" y="6286408"/>
            <a:ext cx="3022788" cy="618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9896832" y="5197542"/>
            <a:ext cx="25530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smtClean="0"/>
              <a:t>Центр НИОКР МОЭК</a:t>
            </a:r>
          </a:p>
          <a:p>
            <a:pPr algn="ctr"/>
            <a:r>
              <a:rPr lang="en-US" sz="1800" b="0" dirty="0" smtClean="0"/>
              <a:t>~</a:t>
            </a:r>
            <a:r>
              <a:rPr lang="ru-RU" sz="1800" b="0" dirty="0" smtClean="0"/>
              <a:t>13 500 м2</a:t>
            </a:r>
            <a:endParaRPr lang="ru-RU" sz="1800" b="0" dirty="0" smtClean="0"/>
          </a:p>
          <a:p>
            <a:pPr algn="ctr"/>
            <a:endParaRPr lang="ru-RU" sz="1800" b="0" dirty="0"/>
          </a:p>
        </p:txBody>
      </p:sp>
      <p:sp>
        <p:nvSpPr>
          <p:cNvPr id="30" name="TextBox 29"/>
          <p:cNvSpPr txBox="1"/>
          <p:nvPr/>
        </p:nvSpPr>
        <p:spPr>
          <a:xfrm>
            <a:off x="9788201" y="3112904"/>
            <a:ext cx="28147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smtClean="0"/>
              <a:t>Центр НИОКР </a:t>
            </a:r>
            <a:r>
              <a:rPr lang="ru-RU" sz="1800" b="0" dirty="0" smtClean="0"/>
              <a:t>Т</a:t>
            </a:r>
            <a:r>
              <a:rPr lang="ru-RU" sz="1800" b="0" dirty="0" smtClean="0"/>
              <a:t>атнефть с </a:t>
            </a:r>
            <a:r>
              <a:rPr lang="ru-RU" sz="1800" b="0" dirty="0" err="1" smtClean="0"/>
              <a:t>апарт</a:t>
            </a:r>
            <a:r>
              <a:rPr lang="ru-RU" sz="1800" b="0" dirty="0" smtClean="0"/>
              <a:t>-отелем</a:t>
            </a:r>
          </a:p>
          <a:p>
            <a:pPr algn="ctr"/>
            <a:r>
              <a:rPr lang="en-US" sz="1800" b="0" dirty="0" smtClean="0"/>
              <a:t>~</a:t>
            </a:r>
            <a:r>
              <a:rPr lang="ru-RU" sz="1800" b="0" dirty="0" smtClean="0"/>
              <a:t>13 500 м2</a:t>
            </a:r>
            <a:endParaRPr lang="ru-RU" sz="1800" b="0" dirty="0" smtClean="0"/>
          </a:p>
          <a:p>
            <a:pPr algn="ctr"/>
            <a:endParaRPr lang="ru-RU" sz="1800" b="0" dirty="0"/>
          </a:p>
        </p:txBody>
      </p:sp>
      <p:sp>
        <p:nvSpPr>
          <p:cNvPr id="31" name="TextBox 30"/>
          <p:cNvSpPr txBox="1"/>
          <p:nvPr/>
        </p:nvSpPr>
        <p:spPr>
          <a:xfrm>
            <a:off x="587835" y="5038894"/>
            <a:ext cx="2553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smtClean="0"/>
              <a:t>Технопарк Сбербанка</a:t>
            </a:r>
          </a:p>
          <a:p>
            <a:pPr algn="ctr"/>
            <a:r>
              <a:rPr lang="en-US" sz="1800" b="0" dirty="0" smtClean="0"/>
              <a:t>~</a:t>
            </a:r>
            <a:r>
              <a:rPr lang="ru-RU" sz="1800" b="0" dirty="0" smtClean="0"/>
              <a:t>122 300 м2</a:t>
            </a:r>
            <a:endParaRPr lang="ru-RU" sz="1800" b="0" dirty="0"/>
          </a:p>
        </p:txBody>
      </p:sp>
      <p:sp>
        <p:nvSpPr>
          <p:cNvPr id="32" name="TextBox 31"/>
          <p:cNvSpPr txBox="1"/>
          <p:nvPr/>
        </p:nvSpPr>
        <p:spPr>
          <a:xfrm>
            <a:off x="520618" y="2840053"/>
            <a:ext cx="2553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smtClean="0"/>
              <a:t>ЦОД Сбербанка</a:t>
            </a:r>
          </a:p>
          <a:p>
            <a:pPr algn="ctr"/>
            <a:r>
              <a:rPr lang="en-US" sz="1800" b="0" dirty="0" smtClean="0"/>
              <a:t>~</a:t>
            </a:r>
            <a:r>
              <a:rPr lang="ru-RU" sz="1800" b="0" dirty="0" smtClean="0"/>
              <a:t>37 000 м2</a:t>
            </a:r>
            <a:endParaRPr lang="ru-RU" sz="1800" b="0" dirty="0"/>
          </a:p>
        </p:txBody>
      </p:sp>
      <p:sp>
        <p:nvSpPr>
          <p:cNvPr id="33" name="TextBox 32"/>
          <p:cNvSpPr txBox="1"/>
          <p:nvPr/>
        </p:nvSpPr>
        <p:spPr>
          <a:xfrm>
            <a:off x="532341" y="6905223"/>
            <a:ext cx="28001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smtClean="0"/>
              <a:t>Центр НИОКР </a:t>
            </a:r>
            <a:r>
              <a:rPr lang="en-US" sz="1800" b="0" dirty="0" smtClean="0"/>
              <a:t>BOEING</a:t>
            </a:r>
            <a:r>
              <a:rPr lang="ru-RU" sz="1800" b="0" dirty="0" smtClean="0"/>
              <a:t> и Летная школа</a:t>
            </a:r>
          </a:p>
          <a:p>
            <a:pPr algn="ctr"/>
            <a:r>
              <a:rPr lang="en-US" sz="1800" b="0" dirty="0" smtClean="0"/>
              <a:t>~ </a:t>
            </a:r>
            <a:r>
              <a:rPr lang="ru-RU" sz="1800" b="0" dirty="0" smtClean="0"/>
              <a:t>9</a:t>
            </a:r>
            <a:r>
              <a:rPr lang="en-US" sz="1800" b="0" dirty="0" smtClean="0"/>
              <a:t> 000 </a:t>
            </a:r>
            <a:r>
              <a:rPr lang="ru-RU" sz="1800" b="0" dirty="0" smtClean="0"/>
              <a:t>м2</a:t>
            </a:r>
            <a:endParaRPr lang="ru-RU" sz="1800" b="0" dirty="0"/>
          </a:p>
        </p:txBody>
      </p:sp>
      <p:sp>
        <p:nvSpPr>
          <p:cNvPr id="34" name="TextBox 33"/>
          <p:cNvSpPr txBox="1"/>
          <p:nvPr/>
        </p:nvSpPr>
        <p:spPr>
          <a:xfrm>
            <a:off x="3153508" y="8658051"/>
            <a:ext cx="37301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smtClean="0"/>
              <a:t>Центр НИОКР </a:t>
            </a:r>
            <a:r>
              <a:rPr lang="ru-RU" sz="1800" b="0" dirty="0" err="1" smtClean="0"/>
              <a:t>Ренова</a:t>
            </a:r>
            <a:r>
              <a:rPr lang="ru-RU" sz="1800" b="0" dirty="0" smtClean="0"/>
              <a:t> </a:t>
            </a:r>
            <a:r>
              <a:rPr lang="ru-RU" sz="1800" b="0" dirty="0" err="1" smtClean="0"/>
              <a:t>Лаб</a:t>
            </a:r>
            <a:endParaRPr lang="ru-RU" sz="1800" b="0" dirty="0" smtClean="0"/>
          </a:p>
          <a:p>
            <a:pPr algn="ctr"/>
            <a:r>
              <a:rPr lang="en-US" sz="1800" b="0" dirty="0" smtClean="0"/>
              <a:t>~ </a:t>
            </a:r>
            <a:r>
              <a:rPr lang="ru-RU" sz="1800" b="0" dirty="0" smtClean="0"/>
              <a:t>26 5</a:t>
            </a:r>
            <a:r>
              <a:rPr lang="en-US" sz="1800" b="0" dirty="0" smtClean="0"/>
              <a:t>00 </a:t>
            </a:r>
            <a:r>
              <a:rPr lang="ru-RU" sz="1800" b="0" dirty="0" smtClean="0"/>
              <a:t>м2</a:t>
            </a:r>
            <a:endParaRPr lang="ru-RU" sz="1800" b="0" dirty="0"/>
          </a:p>
        </p:txBody>
      </p:sp>
      <p:sp>
        <p:nvSpPr>
          <p:cNvPr id="35" name="TextBox 34"/>
          <p:cNvSpPr txBox="1"/>
          <p:nvPr/>
        </p:nvSpPr>
        <p:spPr>
          <a:xfrm>
            <a:off x="9596824" y="7254875"/>
            <a:ext cx="29569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smtClean="0"/>
              <a:t>ФСК ЕЭС - Подстанция и пункт управления сетями</a:t>
            </a:r>
          </a:p>
          <a:p>
            <a:pPr algn="ctr"/>
            <a:r>
              <a:rPr lang="en-US" sz="1800" b="0" dirty="0" smtClean="0"/>
              <a:t>~</a:t>
            </a:r>
            <a:r>
              <a:rPr lang="ru-RU" sz="1800" b="0" dirty="0" smtClean="0"/>
              <a:t> 7 000 м2</a:t>
            </a:r>
            <a:endParaRPr lang="ru-RU" sz="1800" b="0" dirty="0" smtClean="0"/>
          </a:p>
        </p:txBody>
      </p:sp>
      <p:sp>
        <p:nvSpPr>
          <p:cNvPr id="36" name="Прямоугольник 35"/>
          <p:cNvSpPr/>
          <p:nvPr/>
        </p:nvSpPr>
        <p:spPr>
          <a:xfrm>
            <a:off x="220118" y="1925798"/>
            <a:ext cx="3131123" cy="177069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237598" y="3926684"/>
            <a:ext cx="3131123" cy="189968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182105" y="6087636"/>
            <a:ext cx="3131123" cy="203503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3469984" y="7280196"/>
            <a:ext cx="3027575" cy="20241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/>
          <p:cNvSpPr txBox="1"/>
          <p:nvPr/>
        </p:nvSpPr>
        <p:spPr>
          <a:xfrm>
            <a:off x="6752036" y="8595540"/>
            <a:ext cx="2671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err="1" smtClean="0"/>
              <a:t>Руком</a:t>
            </a:r>
            <a:endParaRPr lang="ru-RU" sz="1800" b="0" dirty="0" smtClean="0"/>
          </a:p>
          <a:p>
            <a:pPr algn="ctr"/>
            <a:r>
              <a:rPr lang="ru-RU" sz="1800" b="0" dirty="0" smtClean="0"/>
              <a:t>1 570 м2</a:t>
            </a:r>
            <a:endParaRPr lang="ru-RU" sz="1800" b="0" dirty="0" smtClean="0"/>
          </a:p>
        </p:txBody>
      </p:sp>
      <p:sp>
        <p:nvSpPr>
          <p:cNvPr id="41" name="Прямоугольник 40"/>
          <p:cNvSpPr/>
          <p:nvPr/>
        </p:nvSpPr>
        <p:spPr>
          <a:xfrm>
            <a:off x="6646986" y="7286843"/>
            <a:ext cx="2762194" cy="20241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9533656" y="1925798"/>
            <a:ext cx="3131123" cy="217749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9533656" y="4208767"/>
            <a:ext cx="3131123" cy="16176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9035" name="Picture 11" descr="http://www.gazprombank.ru/upload/iblock/e5b/logo-fsk-ees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794" y="6013360"/>
            <a:ext cx="1210845" cy="130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9533656" y="6013360"/>
            <a:ext cx="3131123" cy="22679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9037" name="Picture 13" descr="http://media.lardi-trans.com/upload/12187276320/logo/logo340x340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2967" y="7469532"/>
            <a:ext cx="2570232" cy="113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Прямая соединительная линия 20"/>
          <p:cNvCxnSpPr/>
          <p:nvPr/>
        </p:nvCxnSpPr>
        <p:spPr>
          <a:xfrm flipV="1">
            <a:off x="3073694" y="2997742"/>
            <a:ext cx="2528562" cy="14120"/>
          </a:xfrm>
          <a:prstGeom prst="line">
            <a:avLst/>
          </a:prstGeom>
          <a:ln w="317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057853" y="4202308"/>
            <a:ext cx="1925918" cy="0"/>
          </a:xfrm>
          <a:prstGeom prst="line">
            <a:avLst/>
          </a:prstGeom>
          <a:ln w="317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 flipV="1">
            <a:off x="5035546" y="5580959"/>
            <a:ext cx="0" cy="1821098"/>
          </a:xfrm>
          <a:prstGeom prst="line">
            <a:avLst/>
          </a:prstGeom>
          <a:ln w="317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 flipH="1">
            <a:off x="7256921" y="5736035"/>
            <a:ext cx="2443209" cy="0"/>
          </a:xfrm>
          <a:prstGeom prst="line">
            <a:avLst/>
          </a:prstGeom>
          <a:ln w="317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030" name="Соединительная линия уступом 129029"/>
          <p:cNvCxnSpPr/>
          <p:nvPr/>
        </p:nvCxnSpPr>
        <p:spPr>
          <a:xfrm rot="16200000" flipH="1">
            <a:off x="5494716" y="6086229"/>
            <a:ext cx="1423371" cy="1208286"/>
          </a:xfrm>
          <a:prstGeom prst="bentConnector3">
            <a:avLst>
              <a:gd name="adj1" fmla="val 50000"/>
            </a:avLst>
          </a:prstGeom>
          <a:ln w="31750">
            <a:solidFill>
              <a:srgbClr val="FF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038" name="Прямоугольник с одним скругленным углом 129037"/>
          <p:cNvSpPr/>
          <p:nvPr/>
        </p:nvSpPr>
        <p:spPr>
          <a:xfrm rot="1983808">
            <a:off x="5453416" y="5591110"/>
            <a:ext cx="297680" cy="383868"/>
          </a:xfrm>
          <a:prstGeom prst="round1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 flipH="1">
            <a:off x="5941526" y="6135059"/>
            <a:ext cx="3758604" cy="13868"/>
          </a:xfrm>
          <a:prstGeom prst="line">
            <a:avLst/>
          </a:prstGeom>
          <a:ln w="317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Соединительная линия уступом 65"/>
          <p:cNvCxnSpPr/>
          <p:nvPr/>
        </p:nvCxnSpPr>
        <p:spPr>
          <a:xfrm flipV="1">
            <a:off x="5831707" y="3874903"/>
            <a:ext cx="3842819" cy="1139179"/>
          </a:xfrm>
          <a:prstGeom prst="bentConnector3">
            <a:avLst>
              <a:gd name="adj1" fmla="val 87523"/>
            </a:avLst>
          </a:prstGeom>
          <a:ln w="31750">
            <a:solidFill>
              <a:srgbClr val="FF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9939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352990" y="8731582"/>
            <a:ext cx="2987040" cy="511175"/>
          </a:xfrm>
        </p:spPr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Заголовок 2"/>
          <p:cNvSpPr txBox="1">
            <a:spLocks/>
          </p:cNvSpPr>
          <p:nvPr/>
        </p:nvSpPr>
        <p:spPr bwMode="auto">
          <a:xfrm>
            <a:off x="1160290" y="838380"/>
            <a:ext cx="873654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1086138" y="812650"/>
            <a:ext cx="9505662" cy="7064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Проекты внешних </a:t>
            </a:r>
            <a:r>
              <a:rPr lang="ru-RU" sz="2400" dirty="0" smtClean="0">
                <a:solidFill>
                  <a:schemeClr val="tx1"/>
                </a:solidFill>
              </a:rPr>
              <a:t>и</a:t>
            </a:r>
            <a:r>
              <a:rPr kumimoji="0" lang="ru-RU" sz="2400" b="1" i="0" u="none" strike="noStrike" kern="1200" cap="small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нвесторов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до</a:t>
            </a:r>
            <a:r>
              <a:rPr kumimoji="0" lang="ru-RU" sz="2400" b="1" i="0" u="none" strike="noStrike" kern="1200" cap="sm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2015 г – </a:t>
            </a:r>
            <a:r>
              <a:rPr kumimoji="0" lang="ru-RU" sz="2400" b="1" i="0" u="none" strike="noStrike" kern="1200" cap="small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Транспортый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</a:t>
            </a:r>
            <a:r>
              <a:rPr kumimoji="0" lang="ru-RU" sz="2400" b="1" i="0" u="none" strike="noStrike" kern="1200" cap="small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Хаб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 </a:t>
            </a: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grpSp>
        <p:nvGrpSpPr>
          <p:cNvPr id="129052" name="Группа 129051"/>
          <p:cNvGrpSpPr/>
          <p:nvPr/>
        </p:nvGrpSpPr>
        <p:grpSpPr>
          <a:xfrm>
            <a:off x="368300" y="1755586"/>
            <a:ext cx="2912453" cy="2075718"/>
            <a:chOff x="707047" y="2201007"/>
            <a:chExt cx="4656597" cy="3144715"/>
          </a:xfrm>
        </p:grpSpPr>
        <p:pic>
          <p:nvPicPr>
            <p:cNvPr id="129044" name="Picture 1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47" y="2201007"/>
              <a:ext cx="4656597" cy="31447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9046" name="Прямоугольник 129045"/>
            <p:cNvSpPr/>
            <p:nvPr/>
          </p:nvSpPr>
          <p:spPr>
            <a:xfrm rot="18421899">
              <a:off x="1379824" y="2684635"/>
              <a:ext cx="461839" cy="1020234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29047" name="Picture 1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4400" y="1721460"/>
            <a:ext cx="4131918" cy="164330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9048" name="Picture 1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4400" y="3460751"/>
            <a:ext cx="4104335" cy="17716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9049" name="Picture 1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7755" y="5359401"/>
            <a:ext cx="6741831" cy="38833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9050" name="Picture 1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492" y="1689101"/>
            <a:ext cx="4900094" cy="35433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9051" name="Picture 1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44" y="5359401"/>
            <a:ext cx="5394132" cy="38833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9" name="TextBox 78"/>
          <p:cNvSpPr txBox="1"/>
          <p:nvPr/>
        </p:nvSpPr>
        <p:spPr>
          <a:xfrm>
            <a:off x="346043" y="3968751"/>
            <a:ext cx="29569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smtClean="0"/>
              <a:t>ООО «</a:t>
            </a:r>
            <a:r>
              <a:rPr lang="ru-RU" sz="1800" b="0" dirty="0" err="1" smtClean="0"/>
              <a:t>Финмаркт</a:t>
            </a:r>
            <a:r>
              <a:rPr lang="ru-RU" sz="1800" b="0" dirty="0" smtClean="0"/>
              <a:t>»</a:t>
            </a:r>
          </a:p>
          <a:p>
            <a:pPr algn="ctr"/>
            <a:r>
              <a:rPr lang="ru-RU" sz="1800" b="0" dirty="0" err="1" smtClean="0"/>
              <a:t>Мультимодальный</a:t>
            </a:r>
            <a:r>
              <a:rPr lang="ru-RU" sz="1800" b="0" dirty="0" smtClean="0"/>
              <a:t> </a:t>
            </a:r>
            <a:r>
              <a:rPr lang="ru-RU" sz="1800" b="0" dirty="0" err="1" smtClean="0"/>
              <a:t>транспортый</a:t>
            </a:r>
            <a:r>
              <a:rPr lang="ru-RU" sz="1800" b="0" dirty="0" smtClean="0"/>
              <a:t> узел – </a:t>
            </a:r>
            <a:r>
              <a:rPr lang="ru-RU" sz="1800" b="0" dirty="0" err="1" smtClean="0"/>
              <a:t>Хаб</a:t>
            </a:r>
            <a:r>
              <a:rPr lang="ru-RU" sz="1800" b="0" dirty="0" smtClean="0"/>
              <a:t>,</a:t>
            </a:r>
          </a:p>
          <a:p>
            <a:pPr algn="ctr"/>
            <a:r>
              <a:rPr lang="en-US" sz="1800" b="0" dirty="0" smtClean="0"/>
              <a:t>I </a:t>
            </a:r>
            <a:r>
              <a:rPr lang="ru-RU" sz="1800" b="0" dirty="0" smtClean="0"/>
              <a:t>очередь – 30 000 м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346043" y="3968751"/>
            <a:ext cx="2934709" cy="126364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9329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352990" y="8731582"/>
            <a:ext cx="2987040" cy="511175"/>
          </a:xfrm>
        </p:spPr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Заголовок 2"/>
          <p:cNvSpPr txBox="1">
            <a:spLocks/>
          </p:cNvSpPr>
          <p:nvPr/>
        </p:nvSpPr>
        <p:spPr bwMode="auto">
          <a:xfrm>
            <a:off x="1160290" y="838380"/>
            <a:ext cx="873654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1086138" y="812650"/>
            <a:ext cx="9505662" cy="7064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5pPr>
            <a:lvl6pPr marL="478908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6pPr>
            <a:lvl7pPr marL="957816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7pPr>
            <a:lvl8pPr marL="1436724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8pPr>
            <a:lvl9pPr marL="1915631" algn="ctr" rtl="0" eaLnBrk="1" fontAlgn="base" hangingPunct="1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Проекты внешних </a:t>
            </a:r>
            <a:r>
              <a:rPr lang="ru-RU" sz="2400" dirty="0" smtClean="0">
                <a:solidFill>
                  <a:schemeClr val="tx1"/>
                </a:solidFill>
              </a:rPr>
              <a:t>и</a:t>
            </a:r>
            <a:r>
              <a:rPr kumimoji="0" lang="ru-RU" sz="2400" b="1" i="0" u="none" strike="noStrike" kern="1200" cap="small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нвесторов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до</a:t>
            </a:r>
            <a:r>
              <a:rPr kumimoji="0" lang="ru-RU" sz="2400" b="1" i="0" u="none" strike="noStrike" kern="1200" cap="sm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2015 г – Деловой центр </a:t>
            </a:r>
            <a:r>
              <a:rPr kumimoji="0" lang="ru-RU" sz="2400" b="1" i="0" u="none" strike="noStrike" kern="1200" cap="small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Сколково</a:t>
            </a:r>
            <a:r>
              <a:rPr kumimoji="0" lang="ru-RU" sz="2400" b="1" i="0" u="none" strike="noStrike" kern="1200" cap="sm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rPr>
              <a:t>  </a:t>
            </a: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56576" y="1808470"/>
            <a:ext cx="2503855" cy="1743622"/>
            <a:chOff x="368299" y="1743016"/>
            <a:chExt cx="2912453" cy="2075718"/>
          </a:xfrm>
        </p:grpSpPr>
        <p:pic>
          <p:nvPicPr>
            <p:cNvPr id="129044" name="Picture 1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299" y="1743016"/>
              <a:ext cx="2912453" cy="20757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9046" name="Прямоугольник 129045"/>
            <p:cNvSpPr/>
            <p:nvPr/>
          </p:nvSpPr>
          <p:spPr>
            <a:xfrm rot="16200000">
              <a:off x="2867566" y="2786080"/>
              <a:ext cx="204785" cy="319051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9" name="TextBox 78"/>
          <p:cNvSpPr txBox="1"/>
          <p:nvPr/>
        </p:nvSpPr>
        <p:spPr>
          <a:xfrm>
            <a:off x="252698" y="3697069"/>
            <a:ext cx="29569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0" dirty="0" smtClean="0"/>
              <a:t>НП «РИТ»</a:t>
            </a:r>
          </a:p>
          <a:p>
            <a:pPr algn="ctr"/>
            <a:r>
              <a:rPr lang="ru-RU" sz="1800" b="0" dirty="0" smtClean="0"/>
              <a:t>27 510 м2</a:t>
            </a:r>
            <a:endParaRPr lang="ru-RU" sz="1800" b="0" dirty="0" smtClean="0"/>
          </a:p>
        </p:txBody>
      </p:sp>
      <p:sp>
        <p:nvSpPr>
          <p:cNvPr id="80" name="Прямоугольник 79"/>
          <p:cNvSpPr/>
          <p:nvPr/>
        </p:nvSpPr>
        <p:spPr>
          <a:xfrm>
            <a:off x="252699" y="3697069"/>
            <a:ext cx="2619456" cy="65030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3" descr="C:\Users\ALaptev\Documents\Skolkovo\PR&amp;GR\Relations to the Ministries &amp; Agencies\Medvedev_G8_July2012\New_screenshots\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712" y="1608318"/>
            <a:ext cx="7486793" cy="273905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Группа 1"/>
          <p:cNvGrpSpPr/>
          <p:nvPr/>
        </p:nvGrpSpPr>
        <p:grpSpPr>
          <a:xfrm>
            <a:off x="4394592" y="4513293"/>
            <a:ext cx="8224838" cy="4602164"/>
            <a:chOff x="4394592" y="4513293"/>
            <a:chExt cx="8224838" cy="4602164"/>
          </a:xfrm>
        </p:grpSpPr>
        <p:pic>
          <p:nvPicPr>
            <p:cNvPr id="130050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4592" y="4513294"/>
              <a:ext cx="8224838" cy="4602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0051" name="Picture 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4592" y="4513293"/>
              <a:ext cx="8161338" cy="15970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30052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698" y="4525994"/>
            <a:ext cx="4845014" cy="4611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252698" y="4467257"/>
            <a:ext cx="4708728" cy="462915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5097712" y="4495800"/>
            <a:ext cx="7521718" cy="461965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1733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oDHYOAy0SO1WrYigXW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oDHYOAy0SO1WrYigXW.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oDHYOAy0SO1WrYigXW.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oDHYOAy0SO1WrYigXW.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708</TotalTime>
  <Pages>8</Pages>
  <Words>322</Words>
  <Application>Microsoft Office PowerPoint</Application>
  <PresentationFormat>A3 (297x420 мм)</PresentationFormat>
  <Paragraphs>115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Calibri</vt:lpstr>
      <vt:lpstr>Wingdings</vt:lpstr>
      <vt:lpstr>Helvetica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Skolkovo Foundation</dc:creator>
  <cp:lastModifiedBy>Prokhorova Natalia</cp:lastModifiedBy>
  <cp:revision>1727</cp:revision>
  <cp:lastPrinted>2012-09-28T11:02:41Z</cp:lastPrinted>
  <dcterms:created xsi:type="dcterms:W3CDTF">2010-12-08T07:12:18Z</dcterms:created>
  <dcterms:modified xsi:type="dcterms:W3CDTF">2013-03-28T18:33:01Z</dcterms:modified>
</cp:coreProperties>
</file>